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3730" r:id="rId5"/>
    <p:sldId id="3812" r:id="rId6"/>
    <p:sldId id="3810" r:id="rId7"/>
    <p:sldId id="3627" r:id="rId8"/>
    <p:sldId id="3813" r:id="rId9"/>
    <p:sldId id="3808" r:id="rId10"/>
    <p:sldId id="3807" r:id="rId11"/>
    <p:sldId id="3811" r:id="rId12"/>
    <p:sldId id="3809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1" d="100"/>
          <a:sy n="61" d="100"/>
        </p:scale>
        <p:origin x="8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EFAE5B-E1F4-4167-AC5D-FBFA4857D47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B318B5-ECB0-4C76-AD57-5CE011A715A3}">
      <dgm:prSet phldrT="[Text]"/>
      <dgm:spPr/>
      <dgm:t>
        <a:bodyPr/>
        <a:lstStyle/>
        <a:p>
          <a:r>
            <a:rPr lang="en-US" dirty="0"/>
            <a:t>KPI suite and dashboard </a:t>
          </a:r>
        </a:p>
      </dgm:t>
    </dgm:pt>
    <dgm:pt modelId="{35FC4B6C-FD0C-4513-87F4-CAD2F2C91A5D}" type="parTrans" cxnId="{1B5BF577-3A60-4720-8477-A9183F90C51B}">
      <dgm:prSet/>
      <dgm:spPr/>
      <dgm:t>
        <a:bodyPr/>
        <a:lstStyle/>
        <a:p>
          <a:endParaRPr lang="en-US"/>
        </a:p>
      </dgm:t>
    </dgm:pt>
    <dgm:pt modelId="{A6C49CD3-2247-41C4-ADF1-2B4D0A68ABFC}" type="sibTrans" cxnId="{1B5BF577-3A60-4720-8477-A9183F90C51B}">
      <dgm:prSet/>
      <dgm:spPr/>
      <dgm:t>
        <a:bodyPr/>
        <a:lstStyle/>
        <a:p>
          <a:endParaRPr lang="en-US"/>
        </a:p>
      </dgm:t>
    </dgm:pt>
    <dgm:pt modelId="{080264C6-115A-47F8-99D5-4D26DB676CC7}">
      <dgm:prSet phldrT="[Text]"/>
      <dgm:spPr/>
      <dgm:t>
        <a:bodyPr/>
        <a:lstStyle/>
        <a:p>
          <a:r>
            <a:rPr lang="en-US" dirty="0"/>
            <a:t>National integrated governance end to end </a:t>
          </a:r>
        </a:p>
      </dgm:t>
    </dgm:pt>
    <dgm:pt modelId="{B2EBC64A-6D1C-4081-8144-2B22AC5B7242}" type="parTrans" cxnId="{EF1D3544-6902-4AEA-924F-F86236211C81}">
      <dgm:prSet/>
      <dgm:spPr/>
      <dgm:t>
        <a:bodyPr/>
        <a:lstStyle/>
        <a:p>
          <a:endParaRPr lang="en-US"/>
        </a:p>
      </dgm:t>
    </dgm:pt>
    <dgm:pt modelId="{B38648F7-53ED-4226-A9F5-BDBD7F7C6AEB}" type="sibTrans" cxnId="{EF1D3544-6902-4AEA-924F-F86236211C81}">
      <dgm:prSet/>
      <dgm:spPr/>
      <dgm:t>
        <a:bodyPr/>
        <a:lstStyle/>
        <a:p>
          <a:endParaRPr lang="en-US"/>
        </a:p>
      </dgm:t>
    </dgm:pt>
    <dgm:pt modelId="{4A039274-97C6-41D1-A6AD-D9A4F7B16D0C}">
      <dgm:prSet phldrT="[Text]"/>
      <dgm:spPr/>
      <dgm:t>
        <a:bodyPr/>
        <a:lstStyle/>
        <a:p>
          <a:r>
            <a:rPr lang="en-US" dirty="0"/>
            <a:t>Operations monitoring  function established </a:t>
          </a:r>
        </a:p>
      </dgm:t>
    </dgm:pt>
    <dgm:pt modelId="{67F54299-5BE4-48C4-BB44-F48CC090DF23}" type="parTrans" cxnId="{EC4B3157-78D0-4CB6-9794-640CBC418BDB}">
      <dgm:prSet/>
      <dgm:spPr/>
      <dgm:t>
        <a:bodyPr/>
        <a:lstStyle/>
        <a:p>
          <a:endParaRPr lang="en-US"/>
        </a:p>
      </dgm:t>
    </dgm:pt>
    <dgm:pt modelId="{D5F907F9-AC66-401F-B667-E941F1FBB26D}" type="sibTrans" cxnId="{EC4B3157-78D0-4CB6-9794-640CBC418BDB}">
      <dgm:prSet/>
      <dgm:spPr/>
      <dgm:t>
        <a:bodyPr/>
        <a:lstStyle/>
        <a:p>
          <a:endParaRPr lang="en-US"/>
        </a:p>
      </dgm:t>
    </dgm:pt>
    <dgm:pt modelId="{223F38C2-347B-48CF-8A28-E730A9F0169D}">
      <dgm:prSet/>
      <dgm:spPr/>
      <dgm:t>
        <a:bodyPr/>
        <a:lstStyle/>
        <a:p>
          <a:r>
            <a:rPr lang="en-US" dirty="0"/>
            <a:t>Overarching QA system in development – local in place  </a:t>
          </a:r>
        </a:p>
      </dgm:t>
    </dgm:pt>
    <dgm:pt modelId="{9BA83AF0-F182-493F-891B-344633CFEE30}" type="parTrans" cxnId="{0429AFB8-C5EB-4DAE-8B32-1B416320ABA6}">
      <dgm:prSet/>
      <dgm:spPr/>
      <dgm:t>
        <a:bodyPr/>
        <a:lstStyle/>
        <a:p>
          <a:endParaRPr lang="en-US"/>
        </a:p>
      </dgm:t>
    </dgm:pt>
    <dgm:pt modelId="{90B0A3C4-9960-4F48-91F2-05CE5B48C57F}" type="sibTrans" cxnId="{0429AFB8-C5EB-4DAE-8B32-1B416320ABA6}">
      <dgm:prSet/>
      <dgm:spPr/>
      <dgm:t>
        <a:bodyPr/>
        <a:lstStyle/>
        <a:p>
          <a:endParaRPr lang="en-US"/>
        </a:p>
      </dgm:t>
    </dgm:pt>
    <dgm:pt modelId="{20DD7B90-1A77-4B42-9890-8979007015F1}">
      <dgm:prSet/>
      <dgm:spPr/>
      <dgm:t>
        <a:bodyPr/>
        <a:lstStyle/>
        <a:p>
          <a:r>
            <a:rPr lang="en-US" dirty="0" err="1"/>
            <a:t>Programme</a:t>
          </a:r>
          <a:r>
            <a:rPr lang="en-US" dirty="0"/>
            <a:t> Management Office -  tracks improvement </a:t>
          </a:r>
        </a:p>
      </dgm:t>
    </dgm:pt>
    <dgm:pt modelId="{B046757F-10E3-46C8-A0F9-0A3913B3A2D8}" type="parTrans" cxnId="{7AED1F62-944E-4F24-A4A2-B35217F606C9}">
      <dgm:prSet/>
      <dgm:spPr/>
      <dgm:t>
        <a:bodyPr/>
        <a:lstStyle/>
        <a:p>
          <a:endParaRPr lang="en-US"/>
        </a:p>
      </dgm:t>
    </dgm:pt>
    <dgm:pt modelId="{7601BD65-5CA3-4140-8F2F-7DF9CE5C3B9F}" type="sibTrans" cxnId="{7AED1F62-944E-4F24-A4A2-B35217F606C9}">
      <dgm:prSet/>
      <dgm:spPr/>
      <dgm:t>
        <a:bodyPr/>
        <a:lstStyle/>
        <a:p>
          <a:endParaRPr lang="en-US"/>
        </a:p>
      </dgm:t>
    </dgm:pt>
    <dgm:pt modelId="{4ACB9B53-5D29-4C38-A882-0AFEFCA91618}" type="pres">
      <dgm:prSet presAssocID="{A0EFAE5B-E1F4-4167-AC5D-FBFA4857D479}" presName="Name0" presStyleCnt="0">
        <dgm:presLayoutVars>
          <dgm:chMax val="7"/>
          <dgm:chPref val="7"/>
          <dgm:dir/>
        </dgm:presLayoutVars>
      </dgm:prSet>
      <dgm:spPr/>
    </dgm:pt>
    <dgm:pt modelId="{39507753-D207-4C3B-9F3C-8BF7C5B74982}" type="pres">
      <dgm:prSet presAssocID="{A0EFAE5B-E1F4-4167-AC5D-FBFA4857D479}" presName="Name1" presStyleCnt="0"/>
      <dgm:spPr/>
    </dgm:pt>
    <dgm:pt modelId="{1881C0BD-ED60-4ECF-A8E6-63057BD4CE0A}" type="pres">
      <dgm:prSet presAssocID="{A0EFAE5B-E1F4-4167-AC5D-FBFA4857D479}" presName="cycle" presStyleCnt="0"/>
      <dgm:spPr/>
    </dgm:pt>
    <dgm:pt modelId="{97E57899-1945-495F-B270-7E75AE56D89D}" type="pres">
      <dgm:prSet presAssocID="{A0EFAE5B-E1F4-4167-AC5D-FBFA4857D479}" presName="srcNode" presStyleLbl="node1" presStyleIdx="0" presStyleCnt="5"/>
      <dgm:spPr/>
    </dgm:pt>
    <dgm:pt modelId="{61CCC2B4-A400-492F-9509-00C28B1938DE}" type="pres">
      <dgm:prSet presAssocID="{A0EFAE5B-E1F4-4167-AC5D-FBFA4857D479}" presName="conn" presStyleLbl="parChTrans1D2" presStyleIdx="0" presStyleCnt="1"/>
      <dgm:spPr/>
    </dgm:pt>
    <dgm:pt modelId="{E17B06A2-CE59-4B2D-AEE3-991714A3BDEC}" type="pres">
      <dgm:prSet presAssocID="{A0EFAE5B-E1F4-4167-AC5D-FBFA4857D479}" presName="extraNode" presStyleLbl="node1" presStyleIdx="0" presStyleCnt="5"/>
      <dgm:spPr/>
    </dgm:pt>
    <dgm:pt modelId="{79D79B70-607B-42F8-9010-DF781047E057}" type="pres">
      <dgm:prSet presAssocID="{A0EFAE5B-E1F4-4167-AC5D-FBFA4857D479}" presName="dstNode" presStyleLbl="node1" presStyleIdx="0" presStyleCnt="5"/>
      <dgm:spPr/>
    </dgm:pt>
    <dgm:pt modelId="{FC59AE1B-5195-46F7-AE20-15E500154B0A}" type="pres">
      <dgm:prSet presAssocID="{3EB318B5-ECB0-4C76-AD57-5CE011A715A3}" presName="text_1" presStyleLbl="node1" presStyleIdx="0" presStyleCnt="5">
        <dgm:presLayoutVars>
          <dgm:bulletEnabled val="1"/>
        </dgm:presLayoutVars>
      </dgm:prSet>
      <dgm:spPr/>
    </dgm:pt>
    <dgm:pt modelId="{E97B4680-B3DF-49E8-BD65-0B8A72AEF537}" type="pres">
      <dgm:prSet presAssocID="{3EB318B5-ECB0-4C76-AD57-5CE011A715A3}" presName="accent_1" presStyleCnt="0"/>
      <dgm:spPr/>
    </dgm:pt>
    <dgm:pt modelId="{B919C942-98B9-4031-AB92-8CD3496CA105}" type="pres">
      <dgm:prSet presAssocID="{3EB318B5-ECB0-4C76-AD57-5CE011A715A3}" presName="accentRepeatNode" presStyleLbl="solidFgAcc1" presStyleIdx="0" presStyleCnt="5"/>
      <dgm:spPr/>
    </dgm:pt>
    <dgm:pt modelId="{DE802966-631C-4BE3-AE31-FA50E67335E5}" type="pres">
      <dgm:prSet presAssocID="{20DD7B90-1A77-4B42-9890-8979007015F1}" presName="text_2" presStyleLbl="node1" presStyleIdx="1" presStyleCnt="5">
        <dgm:presLayoutVars>
          <dgm:bulletEnabled val="1"/>
        </dgm:presLayoutVars>
      </dgm:prSet>
      <dgm:spPr/>
    </dgm:pt>
    <dgm:pt modelId="{3732A8BC-09A2-4DA4-8972-F41680736C55}" type="pres">
      <dgm:prSet presAssocID="{20DD7B90-1A77-4B42-9890-8979007015F1}" presName="accent_2" presStyleCnt="0"/>
      <dgm:spPr/>
    </dgm:pt>
    <dgm:pt modelId="{1D9C25E6-C735-4EA7-B915-9D5EAE43F262}" type="pres">
      <dgm:prSet presAssocID="{20DD7B90-1A77-4B42-9890-8979007015F1}" presName="accentRepeatNode" presStyleLbl="solidFgAcc1" presStyleIdx="1" presStyleCnt="5"/>
      <dgm:spPr/>
    </dgm:pt>
    <dgm:pt modelId="{D2CB13C4-E727-439F-B237-94B0510113D0}" type="pres">
      <dgm:prSet presAssocID="{223F38C2-347B-48CF-8A28-E730A9F0169D}" presName="text_3" presStyleLbl="node1" presStyleIdx="2" presStyleCnt="5">
        <dgm:presLayoutVars>
          <dgm:bulletEnabled val="1"/>
        </dgm:presLayoutVars>
      </dgm:prSet>
      <dgm:spPr/>
    </dgm:pt>
    <dgm:pt modelId="{0712A325-0D17-4F14-87CA-986FBAA973E0}" type="pres">
      <dgm:prSet presAssocID="{223F38C2-347B-48CF-8A28-E730A9F0169D}" presName="accent_3" presStyleCnt="0"/>
      <dgm:spPr/>
    </dgm:pt>
    <dgm:pt modelId="{08D0180B-D61B-499F-9D2E-E23BE79EE0CE}" type="pres">
      <dgm:prSet presAssocID="{223F38C2-347B-48CF-8A28-E730A9F0169D}" presName="accentRepeatNode" presStyleLbl="solidFgAcc1" presStyleIdx="2" presStyleCnt="5"/>
      <dgm:spPr/>
    </dgm:pt>
    <dgm:pt modelId="{B7E38968-8528-4D86-8430-BDC1D707971F}" type="pres">
      <dgm:prSet presAssocID="{080264C6-115A-47F8-99D5-4D26DB676CC7}" presName="text_4" presStyleLbl="node1" presStyleIdx="3" presStyleCnt="5">
        <dgm:presLayoutVars>
          <dgm:bulletEnabled val="1"/>
        </dgm:presLayoutVars>
      </dgm:prSet>
      <dgm:spPr/>
    </dgm:pt>
    <dgm:pt modelId="{EBCF8E98-A3B1-46C0-A8BD-1CB49C251D84}" type="pres">
      <dgm:prSet presAssocID="{080264C6-115A-47F8-99D5-4D26DB676CC7}" presName="accent_4" presStyleCnt="0"/>
      <dgm:spPr/>
    </dgm:pt>
    <dgm:pt modelId="{0DB8492C-C82A-4879-BC7E-605670CA7A7A}" type="pres">
      <dgm:prSet presAssocID="{080264C6-115A-47F8-99D5-4D26DB676CC7}" presName="accentRepeatNode" presStyleLbl="solidFgAcc1" presStyleIdx="3" presStyleCnt="5"/>
      <dgm:spPr/>
    </dgm:pt>
    <dgm:pt modelId="{FCC52B56-86B8-492B-9B87-4D2DF60B5A49}" type="pres">
      <dgm:prSet presAssocID="{4A039274-97C6-41D1-A6AD-D9A4F7B16D0C}" presName="text_5" presStyleLbl="node1" presStyleIdx="4" presStyleCnt="5">
        <dgm:presLayoutVars>
          <dgm:bulletEnabled val="1"/>
        </dgm:presLayoutVars>
      </dgm:prSet>
      <dgm:spPr/>
    </dgm:pt>
    <dgm:pt modelId="{D5BFBDB2-273D-4F7C-9B89-0549F8CB5CC2}" type="pres">
      <dgm:prSet presAssocID="{4A039274-97C6-41D1-A6AD-D9A4F7B16D0C}" presName="accent_5" presStyleCnt="0"/>
      <dgm:spPr/>
    </dgm:pt>
    <dgm:pt modelId="{01F8635B-A346-4965-B7AC-D05CF0866F1F}" type="pres">
      <dgm:prSet presAssocID="{4A039274-97C6-41D1-A6AD-D9A4F7B16D0C}" presName="accentRepeatNode" presStyleLbl="solidFgAcc1" presStyleIdx="4" presStyleCnt="5"/>
      <dgm:spPr/>
    </dgm:pt>
  </dgm:ptLst>
  <dgm:cxnLst>
    <dgm:cxn modelId="{CD7D3517-8D9B-4B77-AE49-9C822327C045}" type="presOf" srcId="{080264C6-115A-47F8-99D5-4D26DB676CC7}" destId="{B7E38968-8528-4D86-8430-BDC1D707971F}" srcOrd="0" destOrd="0" presId="urn:microsoft.com/office/officeart/2008/layout/VerticalCurvedList"/>
    <dgm:cxn modelId="{2364FC3C-9B00-4FDD-A521-B26DFBF6CAF8}" type="presOf" srcId="{223F38C2-347B-48CF-8A28-E730A9F0169D}" destId="{D2CB13C4-E727-439F-B237-94B0510113D0}" srcOrd="0" destOrd="0" presId="urn:microsoft.com/office/officeart/2008/layout/VerticalCurvedList"/>
    <dgm:cxn modelId="{7AED1F62-944E-4F24-A4A2-B35217F606C9}" srcId="{A0EFAE5B-E1F4-4167-AC5D-FBFA4857D479}" destId="{20DD7B90-1A77-4B42-9890-8979007015F1}" srcOrd="1" destOrd="0" parTransId="{B046757F-10E3-46C8-A0F9-0A3913B3A2D8}" sibTransId="{7601BD65-5CA3-4140-8F2F-7DF9CE5C3B9F}"/>
    <dgm:cxn modelId="{EF1D3544-6902-4AEA-924F-F86236211C81}" srcId="{A0EFAE5B-E1F4-4167-AC5D-FBFA4857D479}" destId="{080264C6-115A-47F8-99D5-4D26DB676CC7}" srcOrd="3" destOrd="0" parTransId="{B2EBC64A-6D1C-4081-8144-2B22AC5B7242}" sibTransId="{B38648F7-53ED-4226-A9F5-BDBD7F7C6AEB}"/>
    <dgm:cxn modelId="{EC4B3157-78D0-4CB6-9794-640CBC418BDB}" srcId="{A0EFAE5B-E1F4-4167-AC5D-FBFA4857D479}" destId="{4A039274-97C6-41D1-A6AD-D9A4F7B16D0C}" srcOrd="4" destOrd="0" parTransId="{67F54299-5BE4-48C4-BB44-F48CC090DF23}" sibTransId="{D5F907F9-AC66-401F-B667-E941F1FBB26D}"/>
    <dgm:cxn modelId="{1B5BF577-3A60-4720-8477-A9183F90C51B}" srcId="{A0EFAE5B-E1F4-4167-AC5D-FBFA4857D479}" destId="{3EB318B5-ECB0-4C76-AD57-5CE011A715A3}" srcOrd="0" destOrd="0" parTransId="{35FC4B6C-FD0C-4513-87F4-CAD2F2C91A5D}" sibTransId="{A6C49CD3-2247-41C4-ADF1-2B4D0A68ABFC}"/>
    <dgm:cxn modelId="{AAE5FC80-3669-48B3-9F2D-75E22715279A}" type="presOf" srcId="{3EB318B5-ECB0-4C76-AD57-5CE011A715A3}" destId="{FC59AE1B-5195-46F7-AE20-15E500154B0A}" srcOrd="0" destOrd="0" presId="urn:microsoft.com/office/officeart/2008/layout/VerticalCurvedList"/>
    <dgm:cxn modelId="{638BC784-0D42-42D2-8B06-D30718E0281A}" type="presOf" srcId="{A6C49CD3-2247-41C4-ADF1-2B4D0A68ABFC}" destId="{61CCC2B4-A400-492F-9509-00C28B1938DE}" srcOrd="0" destOrd="0" presId="urn:microsoft.com/office/officeart/2008/layout/VerticalCurvedList"/>
    <dgm:cxn modelId="{0429AFB8-C5EB-4DAE-8B32-1B416320ABA6}" srcId="{A0EFAE5B-E1F4-4167-AC5D-FBFA4857D479}" destId="{223F38C2-347B-48CF-8A28-E730A9F0169D}" srcOrd="2" destOrd="0" parTransId="{9BA83AF0-F182-493F-891B-344633CFEE30}" sibTransId="{90B0A3C4-9960-4F48-91F2-05CE5B48C57F}"/>
    <dgm:cxn modelId="{002F17B9-4695-47D6-9539-E6A67C092B5C}" type="presOf" srcId="{4A039274-97C6-41D1-A6AD-D9A4F7B16D0C}" destId="{FCC52B56-86B8-492B-9B87-4D2DF60B5A49}" srcOrd="0" destOrd="0" presId="urn:microsoft.com/office/officeart/2008/layout/VerticalCurvedList"/>
    <dgm:cxn modelId="{37D12BE1-BB29-49D6-AFEB-027C0964952A}" type="presOf" srcId="{20DD7B90-1A77-4B42-9890-8979007015F1}" destId="{DE802966-631C-4BE3-AE31-FA50E67335E5}" srcOrd="0" destOrd="0" presId="urn:microsoft.com/office/officeart/2008/layout/VerticalCurvedList"/>
    <dgm:cxn modelId="{1B9F4EF0-32C4-478F-925A-BB1C91ABDD7F}" type="presOf" srcId="{A0EFAE5B-E1F4-4167-AC5D-FBFA4857D479}" destId="{4ACB9B53-5D29-4C38-A882-0AFEFCA91618}" srcOrd="0" destOrd="0" presId="urn:microsoft.com/office/officeart/2008/layout/VerticalCurvedList"/>
    <dgm:cxn modelId="{EB5562DD-1DBC-4404-986E-CB6F67F0E4A4}" type="presParOf" srcId="{4ACB9B53-5D29-4C38-A882-0AFEFCA91618}" destId="{39507753-D207-4C3B-9F3C-8BF7C5B74982}" srcOrd="0" destOrd="0" presId="urn:microsoft.com/office/officeart/2008/layout/VerticalCurvedList"/>
    <dgm:cxn modelId="{6D705484-5C06-4AAA-8ABC-E8CE7B72CE48}" type="presParOf" srcId="{39507753-D207-4C3B-9F3C-8BF7C5B74982}" destId="{1881C0BD-ED60-4ECF-A8E6-63057BD4CE0A}" srcOrd="0" destOrd="0" presId="urn:microsoft.com/office/officeart/2008/layout/VerticalCurvedList"/>
    <dgm:cxn modelId="{BDABEEC1-861D-4765-BA58-B432031C825C}" type="presParOf" srcId="{1881C0BD-ED60-4ECF-A8E6-63057BD4CE0A}" destId="{97E57899-1945-495F-B270-7E75AE56D89D}" srcOrd="0" destOrd="0" presId="urn:microsoft.com/office/officeart/2008/layout/VerticalCurvedList"/>
    <dgm:cxn modelId="{DCECB0DE-1DA2-44A7-A89F-952DDB73AAFF}" type="presParOf" srcId="{1881C0BD-ED60-4ECF-A8E6-63057BD4CE0A}" destId="{61CCC2B4-A400-492F-9509-00C28B1938DE}" srcOrd="1" destOrd="0" presId="urn:microsoft.com/office/officeart/2008/layout/VerticalCurvedList"/>
    <dgm:cxn modelId="{81F94E7F-552C-448D-BE82-03EC8CF5AECB}" type="presParOf" srcId="{1881C0BD-ED60-4ECF-A8E6-63057BD4CE0A}" destId="{E17B06A2-CE59-4B2D-AEE3-991714A3BDEC}" srcOrd="2" destOrd="0" presId="urn:microsoft.com/office/officeart/2008/layout/VerticalCurvedList"/>
    <dgm:cxn modelId="{E261C5AA-3D80-4C06-B969-A6AD942E5072}" type="presParOf" srcId="{1881C0BD-ED60-4ECF-A8E6-63057BD4CE0A}" destId="{79D79B70-607B-42F8-9010-DF781047E057}" srcOrd="3" destOrd="0" presId="urn:microsoft.com/office/officeart/2008/layout/VerticalCurvedList"/>
    <dgm:cxn modelId="{B7150DDF-AD43-4660-A489-E5D149147BB1}" type="presParOf" srcId="{39507753-D207-4C3B-9F3C-8BF7C5B74982}" destId="{FC59AE1B-5195-46F7-AE20-15E500154B0A}" srcOrd="1" destOrd="0" presId="urn:microsoft.com/office/officeart/2008/layout/VerticalCurvedList"/>
    <dgm:cxn modelId="{B2CE2533-5D17-45DD-8FF2-83BE1E97D504}" type="presParOf" srcId="{39507753-D207-4C3B-9F3C-8BF7C5B74982}" destId="{E97B4680-B3DF-49E8-BD65-0B8A72AEF537}" srcOrd="2" destOrd="0" presId="urn:microsoft.com/office/officeart/2008/layout/VerticalCurvedList"/>
    <dgm:cxn modelId="{EA07B661-324C-4341-A935-D338AB0AC5CF}" type="presParOf" srcId="{E97B4680-B3DF-49E8-BD65-0B8A72AEF537}" destId="{B919C942-98B9-4031-AB92-8CD3496CA105}" srcOrd="0" destOrd="0" presId="urn:microsoft.com/office/officeart/2008/layout/VerticalCurvedList"/>
    <dgm:cxn modelId="{504A8D22-A10B-4434-ABA2-58C3166FF4A4}" type="presParOf" srcId="{39507753-D207-4C3B-9F3C-8BF7C5B74982}" destId="{DE802966-631C-4BE3-AE31-FA50E67335E5}" srcOrd="3" destOrd="0" presId="urn:microsoft.com/office/officeart/2008/layout/VerticalCurvedList"/>
    <dgm:cxn modelId="{365BE191-A50F-404C-BA53-5AABC1711409}" type="presParOf" srcId="{39507753-D207-4C3B-9F3C-8BF7C5B74982}" destId="{3732A8BC-09A2-4DA4-8972-F41680736C55}" srcOrd="4" destOrd="0" presId="urn:microsoft.com/office/officeart/2008/layout/VerticalCurvedList"/>
    <dgm:cxn modelId="{E5D88C1C-CDAB-4165-A6E8-82EA2799DE9C}" type="presParOf" srcId="{3732A8BC-09A2-4DA4-8972-F41680736C55}" destId="{1D9C25E6-C735-4EA7-B915-9D5EAE43F262}" srcOrd="0" destOrd="0" presId="urn:microsoft.com/office/officeart/2008/layout/VerticalCurvedList"/>
    <dgm:cxn modelId="{1F382E37-5ACA-45C5-AEF7-96D7D7367989}" type="presParOf" srcId="{39507753-D207-4C3B-9F3C-8BF7C5B74982}" destId="{D2CB13C4-E727-439F-B237-94B0510113D0}" srcOrd="5" destOrd="0" presId="urn:microsoft.com/office/officeart/2008/layout/VerticalCurvedList"/>
    <dgm:cxn modelId="{C388E932-0F10-40AA-8222-DBC7CA986450}" type="presParOf" srcId="{39507753-D207-4C3B-9F3C-8BF7C5B74982}" destId="{0712A325-0D17-4F14-87CA-986FBAA973E0}" srcOrd="6" destOrd="0" presId="urn:microsoft.com/office/officeart/2008/layout/VerticalCurvedList"/>
    <dgm:cxn modelId="{A7B0B954-D662-4842-A005-9DCBF0CFA76D}" type="presParOf" srcId="{0712A325-0D17-4F14-87CA-986FBAA973E0}" destId="{08D0180B-D61B-499F-9D2E-E23BE79EE0CE}" srcOrd="0" destOrd="0" presId="urn:microsoft.com/office/officeart/2008/layout/VerticalCurvedList"/>
    <dgm:cxn modelId="{0E9836D1-BFC7-487B-8F84-59CC8C395077}" type="presParOf" srcId="{39507753-D207-4C3B-9F3C-8BF7C5B74982}" destId="{B7E38968-8528-4D86-8430-BDC1D707971F}" srcOrd="7" destOrd="0" presId="urn:microsoft.com/office/officeart/2008/layout/VerticalCurvedList"/>
    <dgm:cxn modelId="{90D839C8-AE9E-499F-A8AD-D473C7521ACB}" type="presParOf" srcId="{39507753-D207-4C3B-9F3C-8BF7C5B74982}" destId="{EBCF8E98-A3B1-46C0-A8BD-1CB49C251D84}" srcOrd="8" destOrd="0" presId="urn:microsoft.com/office/officeart/2008/layout/VerticalCurvedList"/>
    <dgm:cxn modelId="{ECB80655-FD6C-45B3-A8F6-B2A269F6536C}" type="presParOf" srcId="{EBCF8E98-A3B1-46C0-A8BD-1CB49C251D84}" destId="{0DB8492C-C82A-4879-BC7E-605670CA7A7A}" srcOrd="0" destOrd="0" presId="urn:microsoft.com/office/officeart/2008/layout/VerticalCurvedList"/>
    <dgm:cxn modelId="{D345E159-4F2C-49C6-9A3F-90BA9ED5EE6C}" type="presParOf" srcId="{39507753-D207-4C3B-9F3C-8BF7C5B74982}" destId="{FCC52B56-86B8-492B-9B87-4D2DF60B5A49}" srcOrd="9" destOrd="0" presId="urn:microsoft.com/office/officeart/2008/layout/VerticalCurvedList"/>
    <dgm:cxn modelId="{5BEE3874-C510-4D60-A6DA-7D54833220CC}" type="presParOf" srcId="{39507753-D207-4C3B-9F3C-8BF7C5B74982}" destId="{D5BFBDB2-273D-4F7C-9B89-0549F8CB5CC2}" srcOrd="10" destOrd="0" presId="urn:microsoft.com/office/officeart/2008/layout/VerticalCurvedList"/>
    <dgm:cxn modelId="{4CECEA19-0CC2-4E3B-80C7-84031E592E30}" type="presParOf" srcId="{D5BFBDB2-273D-4F7C-9B89-0549F8CB5CC2}" destId="{01F8635B-A346-4965-B7AC-D05CF0866F1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5F0D23D-27D5-4400-821D-1991690C9D4F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E84845-2583-42B7-8D14-9F833CE1E5D6}">
      <dgm:prSet phldrT="[Text]"/>
      <dgm:spPr/>
      <dgm:t>
        <a:bodyPr/>
        <a:lstStyle/>
        <a:p>
          <a:r>
            <a:rPr lang="en-US" dirty="0"/>
            <a:t>Effective</a:t>
          </a:r>
        </a:p>
      </dgm:t>
    </dgm:pt>
    <dgm:pt modelId="{9DEB9487-5F04-4CFC-8406-5451EC46685E}" type="parTrans" cxnId="{B550DD0B-BBDA-493C-AF7E-7E7AC39AB315}">
      <dgm:prSet/>
      <dgm:spPr/>
      <dgm:t>
        <a:bodyPr/>
        <a:lstStyle/>
        <a:p>
          <a:endParaRPr lang="en-US"/>
        </a:p>
      </dgm:t>
    </dgm:pt>
    <dgm:pt modelId="{023D6FB0-CA4C-4037-B750-A851F2D80ED4}" type="sibTrans" cxnId="{B550DD0B-BBDA-493C-AF7E-7E7AC39AB315}">
      <dgm:prSet/>
      <dgm:spPr/>
      <dgm:t>
        <a:bodyPr/>
        <a:lstStyle/>
        <a:p>
          <a:endParaRPr lang="en-US"/>
        </a:p>
      </dgm:t>
    </dgm:pt>
    <dgm:pt modelId="{8D200C9E-3D20-4C58-9B49-8B010E10F91E}">
      <dgm:prSet phldrT="[Text]"/>
      <dgm:spPr/>
      <dgm:t>
        <a:bodyPr/>
        <a:lstStyle/>
        <a:p>
          <a:r>
            <a:rPr lang="en-US" dirty="0"/>
            <a:t>Underpinned by evidence </a:t>
          </a:r>
        </a:p>
      </dgm:t>
    </dgm:pt>
    <dgm:pt modelId="{081CA75F-9EA8-4E8F-AB4A-5FEA4DB9304E}" type="parTrans" cxnId="{30CBDF91-9D7C-44BE-890A-E2576770B1F3}">
      <dgm:prSet/>
      <dgm:spPr/>
      <dgm:t>
        <a:bodyPr/>
        <a:lstStyle/>
        <a:p>
          <a:endParaRPr lang="en-US"/>
        </a:p>
      </dgm:t>
    </dgm:pt>
    <dgm:pt modelId="{18531DB3-62B2-4F3C-811D-B7DC8D38255F}" type="sibTrans" cxnId="{30CBDF91-9D7C-44BE-890A-E2576770B1F3}">
      <dgm:prSet/>
      <dgm:spPr/>
      <dgm:t>
        <a:bodyPr/>
        <a:lstStyle/>
        <a:p>
          <a:endParaRPr lang="en-US"/>
        </a:p>
      </dgm:t>
    </dgm:pt>
    <dgm:pt modelId="{59AD4F19-8DD0-47A5-906A-F0F860DC9775}">
      <dgm:prSet phldrT="[Text]"/>
      <dgm:spPr/>
      <dgm:t>
        <a:bodyPr/>
        <a:lstStyle/>
        <a:p>
          <a:r>
            <a:rPr lang="en-US" dirty="0"/>
            <a:t>Well-led</a:t>
          </a:r>
        </a:p>
      </dgm:t>
    </dgm:pt>
    <dgm:pt modelId="{6314417A-32C8-4897-A49C-217DB49864DF}" type="parTrans" cxnId="{B03A9A4A-532B-4C25-B3F8-8BC4A83FDBEE}">
      <dgm:prSet/>
      <dgm:spPr/>
      <dgm:t>
        <a:bodyPr/>
        <a:lstStyle/>
        <a:p>
          <a:endParaRPr lang="en-US"/>
        </a:p>
      </dgm:t>
    </dgm:pt>
    <dgm:pt modelId="{1D4474D6-BE89-4C2D-B76E-65B837A9EFFD}" type="sibTrans" cxnId="{B03A9A4A-532B-4C25-B3F8-8BC4A83FDBEE}">
      <dgm:prSet/>
      <dgm:spPr/>
      <dgm:t>
        <a:bodyPr/>
        <a:lstStyle/>
        <a:p>
          <a:endParaRPr lang="en-US"/>
        </a:p>
      </dgm:t>
    </dgm:pt>
    <dgm:pt modelId="{575B1E66-AB2C-405B-97CB-C1931CCC6D55}">
      <dgm:prSet phldrT="[Text]"/>
      <dgm:spPr/>
      <dgm:t>
        <a:bodyPr/>
        <a:lstStyle/>
        <a:p>
          <a:r>
            <a:rPr lang="en-US" dirty="0"/>
            <a:t>Doing the basics </a:t>
          </a:r>
        </a:p>
      </dgm:t>
    </dgm:pt>
    <dgm:pt modelId="{41589628-5E80-4A62-ACE8-88E6F8E04C85}" type="parTrans" cxnId="{21EFEBA2-732D-48D2-B41B-FDC795DA3C20}">
      <dgm:prSet/>
      <dgm:spPr/>
      <dgm:t>
        <a:bodyPr/>
        <a:lstStyle/>
        <a:p>
          <a:endParaRPr lang="en-US"/>
        </a:p>
      </dgm:t>
    </dgm:pt>
    <dgm:pt modelId="{648B83EA-B82C-4F54-ACB5-24C89DC67FC7}" type="sibTrans" cxnId="{21EFEBA2-732D-48D2-B41B-FDC795DA3C20}">
      <dgm:prSet/>
      <dgm:spPr/>
      <dgm:t>
        <a:bodyPr/>
        <a:lstStyle/>
        <a:p>
          <a:endParaRPr lang="en-US"/>
        </a:p>
      </dgm:t>
    </dgm:pt>
    <dgm:pt modelId="{7D994679-3D1A-41A6-B50B-4B259878EF70}">
      <dgm:prSet phldrT="[Text]"/>
      <dgm:spPr/>
      <dgm:t>
        <a:bodyPr/>
        <a:lstStyle/>
        <a:p>
          <a:r>
            <a:rPr lang="en-US" dirty="0"/>
            <a:t>Responsive</a:t>
          </a:r>
        </a:p>
      </dgm:t>
    </dgm:pt>
    <dgm:pt modelId="{2D938797-3762-4E2A-A1AA-968ED7ED8CA7}" type="parTrans" cxnId="{BFD8D6A4-E216-4CC9-964D-84DC424AFFCC}">
      <dgm:prSet/>
      <dgm:spPr/>
      <dgm:t>
        <a:bodyPr/>
        <a:lstStyle/>
        <a:p>
          <a:endParaRPr lang="en-US"/>
        </a:p>
      </dgm:t>
    </dgm:pt>
    <dgm:pt modelId="{2B87AC67-8CA8-4554-BA01-374A584B4121}" type="sibTrans" cxnId="{BFD8D6A4-E216-4CC9-964D-84DC424AFFCC}">
      <dgm:prSet/>
      <dgm:spPr/>
      <dgm:t>
        <a:bodyPr/>
        <a:lstStyle/>
        <a:p>
          <a:endParaRPr lang="en-US"/>
        </a:p>
      </dgm:t>
    </dgm:pt>
    <dgm:pt modelId="{E78ACDD3-E0B5-4B51-9A1B-FBA1632962B6}">
      <dgm:prSet phldrT="[Text]"/>
      <dgm:spPr/>
      <dgm:t>
        <a:bodyPr/>
        <a:lstStyle/>
        <a:p>
          <a:r>
            <a:rPr lang="en-US" b="1" dirty="0"/>
            <a:t>Turn around times – KPIs and meeting them</a:t>
          </a:r>
        </a:p>
      </dgm:t>
    </dgm:pt>
    <dgm:pt modelId="{C9D7EBC8-BD01-4AC0-A051-5BB09A2046E2}" type="parTrans" cxnId="{3B52DB79-2E21-45AC-A3EB-368DB50CA046}">
      <dgm:prSet/>
      <dgm:spPr/>
      <dgm:t>
        <a:bodyPr/>
        <a:lstStyle/>
        <a:p>
          <a:endParaRPr lang="en-US"/>
        </a:p>
      </dgm:t>
    </dgm:pt>
    <dgm:pt modelId="{6293F33B-18BE-4C2C-9BA0-1F7B331D323C}" type="sibTrans" cxnId="{3B52DB79-2E21-45AC-A3EB-368DB50CA046}">
      <dgm:prSet/>
      <dgm:spPr/>
      <dgm:t>
        <a:bodyPr/>
        <a:lstStyle/>
        <a:p>
          <a:endParaRPr lang="en-US"/>
        </a:p>
      </dgm:t>
    </dgm:pt>
    <dgm:pt modelId="{F96CA501-214F-4F4E-A1DE-78D8F268B14B}">
      <dgm:prSet phldrT="[Text]"/>
      <dgm:spPr/>
      <dgm:t>
        <a:bodyPr/>
        <a:lstStyle/>
        <a:p>
          <a:r>
            <a:rPr lang="en-US" b="1" dirty="0"/>
            <a:t>Patient queries </a:t>
          </a:r>
        </a:p>
      </dgm:t>
    </dgm:pt>
    <dgm:pt modelId="{F519059D-FC9D-49DB-AF6E-1AE4C3F1F45B}" type="parTrans" cxnId="{6F5E3A4D-7156-4C29-8578-F0E88F8BE1C3}">
      <dgm:prSet/>
      <dgm:spPr/>
      <dgm:t>
        <a:bodyPr/>
        <a:lstStyle/>
        <a:p>
          <a:endParaRPr lang="en-US"/>
        </a:p>
      </dgm:t>
    </dgm:pt>
    <dgm:pt modelId="{0D201DAB-7782-4184-885D-35D0047EF6B3}" type="sibTrans" cxnId="{6F5E3A4D-7156-4C29-8578-F0E88F8BE1C3}">
      <dgm:prSet/>
      <dgm:spPr/>
      <dgm:t>
        <a:bodyPr/>
        <a:lstStyle/>
        <a:p>
          <a:endParaRPr lang="en-US"/>
        </a:p>
      </dgm:t>
    </dgm:pt>
    <dgm:pt modelId="{0E60D59F-FD97-4AF3-A3FF-13953E3B3BC5}">
      <dgm:prSet phldrT="[Text]"/>
      <dgm:spPr/>
      <dgm:t>
        <a:bodyPr/>
        <a:lstStyle/>
        <a:p>
          <a:r>
            <a:rPr lang="en-US" dirty="0"/>
            <a:t>Changes in science </a:t>
          </a:r>
        </a:p>
      </dgm:t>
    </dgm:pt>
    <dgm:pt modelId="{D64988C0-2231-428E-9750-9729D40ED217}" type="parTrans" cxnId="{9683E2AE-0634-4559-8E4C-8CA13E6C1617}">
      <dgm:prSet/>
      <dgm:spPr/>
      <dgm:t>
        <a:bodyPr/>
        <a:lstStyle/>
        <a:p>
          <a:endParaRPr lang="en-US"/>
        </a:p>
      </dgm:t>
    </dgm:pt>
    <dgm:pt modelId="{250E88A6-37F7-4077-A9BF-534B494BF0F7}" type="sibTrans" cxnId="{9683E2AE-0634-4559-8E4C-8CA13E6C1617}">
      <dgm:prSet/>
      <dgm:spPr/>
      <dgm:t>
        <a:bodyPr/>
        <a:lstStyle/>
        <a:p>
          <a:endParaRPr lang="en-US"/>
        </a:p>
      </dgm:t>
    </dgm:pt>
    <dgm:pt modelId="{E7CB99BC-E356-4C6F-8C3B-7F854B8A54D5}">
      <dgm:prSet phldrT="[Text]"/>
      <dgm:spPr/>
      <dgm:t>
        <a:bodyPr/>
        <a:lstStyle/>
        <a:p>
          <a:r>
            <a:rPr lang="en-US" b="1" dirty="0"/>
            <a:t>Provision of information to decision makers and public in a timely manner  </a:t>
          </a:r>
        </a:p>
      </dgm:t>
    </dgm:pt>
    <dgm:pt modelId="{7AD1FD78-CBCD-4F86-9E23-5DD881643036}" type="parTrans" cxnId="{0F56213E-8012-41B5-87B7-C1113ED0B51E}">
      <dgm:prSet/>
      <dgm:spPr/>
      <dgm:t>
        <a:bodyPr/>
        <a:lstStyle/>
        <a:p>
          <a:endParaRPr lang="en-US"/>
        </a:p>
      </dgm:t>
    </dgm:pt>
    <dgm:pt modelId="{724EE135-1325-4E53-85B4-C1F05465AF8E}" type="sibTrans" cxnId="{0F56213E-8012-41B5-87B7-C1113ED0B51E}">
      <dgm:prSet/>
      <dgm:spPr/>
      <dgm:t>
        <a:bodyPr/>
        <a:lstStyle/>
        <a:p>
          <a:endParaRPr lang="en-US"/>
        </a:p>
      </dgm:t>
    </dgm:pt>
    <dgm:pt modelId="{D9B15053-572A-489F-9B3F-1E2D8BE5A12C}">
      <dgm:prSet phldrT="[Text]"/>
      <dgm:spPr/>
      <dgm:t>
        <a:bodyPr/>
        <a:lstStyle/>
        <a:p>
          <a:r>
            <a:rPr lang="en-US" dirty="0"/>
            <a:t>Quality assurance systems </a:t>
          </a:r>
        </a:p>
      </dgm:t>
    </dgm:pt>
    <dgm:pt modelId="{D73CEDBA-5CC4-4FF3-A8E8-14177A1B1562}" type="parTrans" cxnId="{3E22D8F8-613F-4838-8B5C-9288C91293D3}">
      <dgm:prSet/>
      <dgm:spPr/>
      <dgm:t>
        <a:bodyPr/>
        <a:lstStyle/>
        <a:p>
          <a:endParaRPr lang="en-US"/>
        </a:p>
      </dgm:t>
    </dgm:pt>
    <dgm:pt modelId="{2C601621-F71E-48DF-BDBA-3B1680CCD35F}" type="sibTrans" cxnId="{3E22D8F8-613F-4838-8B5C-9288C91293D3}">
      <dgm:prSet/>
      <dgm:spPr/>
      <dgm:t>
        <a:bodyPr/>
        <a:lstStyle/>
        <a:p>
          <a:endParaRPr lang="en-US"/>
        </a:p>
      </dgm:t>
    </dgm:pt>
    <dgm:pt modelId="{DC2ACCB6-B706-454E-AA92-87C2F9F19909}">
      <dgm:prSet phldrT="[Text]"/>
      <dgm:spPr/>
      <dgm:t>
        <a:bodyPr/>
        <a:lstStyle/>
        <a:p>
          <a:r>
            <a:rPr lang="en-US" dirty="0"/>
            <a:t>Clear purpose and roles and responsibilities </a:t>
          </a:r>
        </a:p>
      </dgm:t>
    </dgm:pt>
    <dgm:pt modelId="{A065B1DE-66D3-42EB-BCA0-6EAD061DA394}" type="parTrans" cxnId="{25F89A1E-F545-42CE-8BA2-A5BBBF7A882D}">
      <dgm:prSet/>
      <dgm:spPr/>
      <dgm:t>
        <a:bodyPr/>
        <a:lstStyle/>
        <a:p>
          <a:endParaRPr lang="en-US"/>
        </a:p>
      </dgm:t>
    </dgm:pt>
    <dgm:pt modelId="{FE80D03F-70FB-4C9E-B282-5D139B295A88}" type="sibTrans" cxnId="{25F89A1E-F545-42CE-8BA2-A5BBBF7A882D}">
      <dgm:prSet/>
      <dgm:spPr/>
      <dgm:t>
        <a:bodyPr/>
        <a:lstStyle/>
        <a:p>
          <a:endParaRPr lang="en-US"/>
        </a:p>
      </dgm:t>
    </dgm:pt>
    <dgm:pt modelId="{48034BA3-AB9F-4EFB-A630-EAC49B8B7CE1}">
      <dgm:prSet phldrT="[Text]"/>
      <dgm:spPr/>
      <dgm:t>
        <a:bodyPr/>
        <a:lstStyle/>
        <a:p>
          <a:r>
            <a:rPr lang="en-US" dirty="0"/>
            <a:t>Clear operational model</a:t>
          </a:r>
        </a:p>
      </dgm:t>
    </dgm:pt>
    <dgm:pt modelId="{A68AC1F4-D2B1-4781-B23B-36A1F1B87D14}" type="parTrans" cxnId="{6DFC1A77-C032-49AA-AF70-9979915D2A80}">
      <dgm:prSet/>
      <dgm:spPr/>
      <dgm:t>
        <a:bodyPr/>
        <a:lstStyle/>
        <a:p>
          <a:endParaRPr lang="en-US"/>
        </a:p>
      </dgm:t>
    </dgm:pt>
    <dgm:pt modelId="{809E76B8-0981-4F1F-8DBE-D5308345C80C}" type="sibTrans" cxnId="{6DFC1A77-C032-49AA-AF70-9979915D2A80}">
      <dgm:prSet/>
      <dgm:spPr/>
      <dgm:t>
        <a:bodyPr/>
        <a:lstStyle/>
        <a:p>
          <a:endParaRPr lang="en-US"/>
        </a:p>
      </dgm:t>
    </dgm:pt>
    <dgm:pt modelId="{242296C4-59B7-4B72-B048-9C467624361E}">
      <dgm:prSet phldrT="[Text]"/>
      <dgm:spPr/>
      <dgm:t>
        <a:bodyPr/>
        <a:lstStyle/>
        <a:p>
          <a:r>
            <a:rPr lang="en-US" b="1" dirty="0"/>
            <a:t>Validation</a:t>
          </a:r>
          <a:r>
            <a:rPr lang="en-US" dirty="0"/>
            <a:t> </a:t>
          </a:r>
        </a:p>
      </dgm:t>
    </dgm:pt>
    <dgm:pt modelId="{926244F2-2E9E-40F5-AE15-FE7B89C5739A}" type="parTrans" cxnId="{60E2B4CC-7FAB-40FA-B677-F9567AEF8B6C}">
      <dgm:prSet/>
      <dgm:spPr/>
      <dgm:t>
        <a:bodyPr/>
        <a:lstStyle/>
        <a:p>
          <a:endParaRPr lang="en-US"/>
        </a:p>
      </dgm:t>
    </dgm:pt>
    <dgm:pt modelId="{CCD23712-975C-4FD7-BE6F-60D366D4F2CE}" type="sibTrans" cxnId="{60E2B4CC-7FAB-40FA-B677-F9567AEF8B6C}">
      <dgm:prSet/>
      <dgm:spPr/>
      <dgm:t>
        <a:bodyPr/>
        <a:lstStyle/>
        <a:p>
          <a:endParaRPr lang="en-US"/>
        </a:p>
      </dgm:t>
    </dgm:pt>
    <dgm:pt modelId="{7D2BF579-9FB1-4C9D-A5A3-4012E98B5158}">
      <dgm:prSet phldrT="[Text]"/>
      <dgm:spPr/>
      <dgm:t>
        <a:bodyPr/>
        <a:lstStyle/>
        <a:p>
          <a:r>
            <a:rPr lang="en-US" dirty="0"/>
            <a:t>End to end risk management </a:t>
          </a:r>
        </a:p>
      </dgm:t>
    </dgm:pt>
    <dgm:pt modelId="{66F26C53-21EB-45CC-9287-A40788671276}" type="parTrans" cxnId="{5C773E81-580F-4B77-93DD-2D63EFC69FFF}">
      <dgm:prSet/>
      <dgm:spPr/>
      <dgm:t>
        <a:bodyPr/>
        <a:lstStyle/>
        <a:p>
          <a:endParaRPr lang="en-US"/>
        </a:p>
      </dgm:t>
    </dgm:pt>
    <dgm:pt modelId="{C450D8E3-BD83-42F5-9889-1301F97DBBB9}" type="sibTrans" cxnId="{5C773E81-580F-4B77-93DD-2D63EFC69FFF}">
      <dgm:prSet/>
      <dgm:spPr/>
      <dgm:t>
        <a:bodyPr/>
        <a:lstStyle/>
        <a:p>
          <a:endParaRPr lang="en-US"/>
        </a:p>
      </dgm:t>
    </dgm:pt>
    <dgm:pt modelId="{386EB4C3-F2BC-466D-ADBC-6FA9705202A6}">
      <dgm:prSet phldrT="[Text]"/>
      <dgm:spPr/>
      <dgm:t>
        <a:bodyPr/>
        <a:lstStyle/>
        <a:p>
          <a:r>
            <a:rPr lang="en-US" dirty="0"/>
            <a:t>Information management systems </a:t>
          </a:r>
        </a:p>
      </dgm:t>
    </dgm:pt>
    <dgm:pt modelId="{AE7585D3-2EF6-4DA6-B166-D41ADFA8EF14}" type="parTrans" cxnId="{11B0FC7E-80BD-4F8A-9287-43C0563F190E}">
      <dgm:prSet/>
      <dgm:spPr/>
      <dgm:t>
        <a:bodyPr/>
        <a:lstStyle/>
        <a:p>
          <a:endParaRPr lang="en-US"/>
        </a:p>
      </dgm:t>
    </dgm:pt>
    <dgm:pt modelId="{FC49A08F-43AC-4E8D-9426-16D69B627950}" type="sibTrans" cxnId="{11B0FC7E-80BD-4F8A-9287-43C0563F190E}">
      <dgm:prSet/>
      <dgm:spPr/>
      <dgm:t>
        <a:bodyPr/>
        <a:lstStyle/>
        <a:p>
          <a:endParaRPr lang="en-US"/>
        </a:p>
      </dgm:t>
    </dgm:pt>
    <dgm:pt modelId="{0A988EE6-4E8B-4E55-A420-EB1011E3088A}">
      <dgm:prSet phldrT="[Text]"/>
      <dgm:spPr/>
      <dgm:t>
        <a:bodyPr/>
        <a:lstStyle/>
        <a:p>
          <a:r>
            <a:rPr lang="en-US" b="1" dirty="0"/>
            <a:t>Operational plans based on scenarios</a:t>
          </a:r>
        </a:p>
      </dgm:t>
    </dgm:pt>
    <dgm:pt modelId="{751D3B55-9E07-4C7E-87EC-144D3A66D0D1}" type="parTrans" cxnId="{69776373-FDB9-4E11-8A28-39713B38A1D4}">
      <dgm:prSet/>
      <dgm:spPr/>
      <dgm:t>
        <a:bodyPr/>
        <a:lstStyle/>
        <a:p>
          <a:endParaRPr lang="en-US"/>
        </a:p>
      </dgm:t>
    </dgm:pt>
    <dgm:pt modelId="{FBE81BF9-DFED-40C4-9A39-E64A7D15F7B1}" type="sibTrans" cxnId="{69776373-FDB9-4E11-8A28-39713B38A1D4}">
      <dgm:prSet/>
      <dgm:spPr/>
      <dgm:t>
        <a:bodyPr/>
        <a:lstStyle/>
        <a:p>
          <a:endParaRPr lang="en-US"/>
        </a:p>
      </dgm:t>
    </dgm:pt>
    <dgm:pt modelId="{AA42FAC0-4E35-4666-81FC-42C68140A11F}">
      <dgm:prSet phldrT="[Text]"/>
      <dgm:spPr/>
      <dgm:t>
        <a:bodyPr/>
        <a:lstStyle/>
        <a:p>
          <a:r>
            <a:rPr lang="en-US" b="1" dirty="0"/>
            <a:t>Clinical leadership  </a:t>
          </a:r>
        </a:p>
      </dgm:t>
    </dgm:pt>
    <dgm:pt modelId="{469C7C7E-3A1A-44E9-A259-92E309CF7B61}" type="parTrans" cxnId="{07B77870-DB2D-4405-9CD1-CD73357F21E5}">
      <dgm:prSet/>
      <dgm:spPr/>
      <dgm:t>
        <a:bodyPr/>
        <a:lstStyle/>
        <a:p>
          <a:endParaRPr lang="en-US"/>
        </a:p>
      </dgm:t>
    </dgm:pt>
    <dgm:pt modelId="{2BDBFDA5-67DA-4DF3-A77E-E1108C3683F4}" type="sibTrans" cxnId="{07B77870-DB2D-4405-9CD1-CD73357F21E5}">
      <dgm:prSet/>
      <dgm:spPr/>
      <dgm:t>
        <a:bodyPr/>
        <a:lstStyle/>
        <a:p>
          <a:endParaRPr lang="en-US"/>
        </a:p>
      </dgm:t>
    </dgm:pt>
    <dgm:pt modelId="{09C74711-811E-46E3-8967-661F211D46AD}">
      <dgm:prSet phldrT="[Text]"/>
      <dgm:spPr/>
      <dgm:t>
        <a:bodyPr/>
        <a:lstStyle/>
        <a:p>
          <a:r>
            <a:rPr lang="en-US" b="1" dirty="0"/>
            <a:t>Systems to learn and improve – rapidly </a:t>
          </a:r>
        </a:p>
      </dgm:t>
    </dgm:pt>
    <dgm:pt modelId="{7C77212A-5098-4547-AD37-278EDA7A0AA9}" type="parTrans" cxnId="{6D159332-8F9B-4F59-AED7-B92A8360298C}">
      <dgm:prSet/>
      <dgm:spPr/>
      <dgm:t>
        <a:bodyPr/>
        <a:lstStyle/>
        <a:p>
          <a:endParaRPr lang="en-US"/>
        </a:p>
      </dgm:t>
    </dgm:pt>
    <dgm:pt modelId="{165B7646-32DC-41BE-985D-1DD8758F6F97}" type="sibTrans" cxnId="{6D159332-8F9B-4F59-AED7-B92A8360298C}">
      <dgm:prSet/>
      <dgm:spPr/>
      <dgm:t>
        <a:bodyPr/>
        <a:lstStyle/>
        <a:p>
          <a:endParaRPr lang="en-US"/>
        </a:p>
      </dgm:t>
    </dgm:pt>
    <dgm:pt modelId="{8097A353-F4BC-4857-A857-73B5A0069A0C}">
      <dgm:prSet phldrT="[Text]"/>
      <dgm:spPr/>
      <dgm:t>
        <a:bodyPr/>
        <a:lstStyle/>
        <a:p>
          <a:endParaRPr lang="en-US" dirty="0"/>
        </a:p>
      </dgm:t>
    </dgm:pt>
    <dgm:pt modelId="{5E8FC560-C7F0-4AD6-B2D8-EDF3EA8AA6D7}" type="parTrans" cxnId="{D4D69DAA-6B39-44FE-921C-F89067A9F9E8}">
      <dgm:prSet/>
      <dgm:spPr/>
      <dgm:t>
        <a:bodyPr/>
        <a:lstStyle/>
        <a:p>
          <a:endParaRPr lang="en-US"/>
        </a:p>
      </dgm:t>
    </dgm:pt>
    <dgm:pt modelId="{9D076F3C-A83F-4B84-9CF9-FE58D2BA6531}" type="sibTrans" cxnId="{D4D69DAA-6B39-44FE-921C-F89067A9F9E8}">
      <dgm:prSet/>
      <dgm:spPr/>
      <dgm:t>
        <a:bodyPr/>
        <a:lstStyle/>
        <a:p>
          <a:endParaRPr lang="en-US"/>
        </a:p>
      </dgm:t>
    </dgm:pt>
    <dgm:pt modelId="{491551A1-44F0-4A05-9E98-263EBB1C5825}">
      <dgm:prSet phldrT="[Text]"/>
      <dgm:spPr/>
      <dgm:t>
        <a:bodyPr/>
        <a:lstStyle/>
        <a:p>
          <a:r>
            <a:rPr lang="en-US" b="1" dirty="0"/>
            <a:t>Evaluate impact on spread and protecting health </a:t>
          </a:r>
          <a:r>
            <a:rPr lang="en-US" b="1" dirty="0" err="1"/>
            <a:t>etc</a:t>
          </a:r>
          <a:r>
            <a:rPr lang="en-US" b="1" dirty="0"/>
            <a:t> </a:t>
          </a:r>
        </a:p>
      </dgm:t>
    </dgm:pt>
    <dgm:pt modelId="{48F54635-4B27-4C89-A8FD-C0628B59F052}" type="parTrans" cxnId="{3D65F12E-FE36-4536-9370-23FBDA1D5735}">
      <dgm:prSet/>
      <dgm:spPr/>
      <dgm:t>
        <a:bodyPr/>
        <a:lstStyle/>
        <a:p>
          <a:endParaRPr lang="en-US"/>
        </a:p>
      </dgm:t>
    </dgm:pt>
    <dgm:pt modelId="{A8E107FB-4E4B-4D46-8853-521B27ECDA53}" type="sibTrans" cxnId="{3D65F12E-FE36-4536-9370-23FBDA1D5735}">
      <dgm:prSet/>
      <dgm:spPr/>
      <dgm:t>
        <a:bodyPr/>
        <a:lstStyle/>
        <a:p>
          <a:endParaRPr lang="en-US"/>
        </a:p>
      </dgm:t>
    </dgm:pt>
    <dgm:pt modelId="{0D35BBA1-BB08-46B5-8028-30342324A3FF}">
      <dgm:prSet phldrT="[Text]"/>
      <dgm:spPr/>
      <dgm:t>
        <a:bodyPr/>
        <a:lstStyle/>
        <a:p>
          <a:endParaRPr lang="en-US" dirty="0"/>
        </a:p>
      </dgm:t>
    </dgm:pt>
    <dgm:pt modelId="{3D1EAD0B-5163-4497-A153-4F3051F0F459}" type="parTrans" cxnId="{78A23AF4-01EF-4348-AEE4-BCDF35CDFBAF}">
      <dgm:prSet/>
      <dgm:spPr/>
      <dgm:t>
        <a:bodyPr/>
        <a:lstStyle/>
        <a:p>
          <a:endParaRPr lang="en-US"/>
        </a:p>
      </dgm:t>
    </dgm:pt>
    <dgm:pt modelId="{9D37CB9C-5C52-4324-A8A7-761A2A9EA08C}" type="sibTrans" cxnId="{78A23AF4-01EF-4348-AEE4-BCDF35CDFBAF}">
      <dgm:prSet/>
      <dgm:spPr/>
      <dgm:t>
        <a:bodyPr/>
        <a:lstStyle/>
        <a:p>
          <a:endParaRPr lang="en-US"/>
        </a:p>
      </dgm:t>
    </dgm:pt>
    <dgm:pt modelId="{048E4062-DD42-43EF-A8FA-2433F2A058FB}">
      <dgm:prSet phldrT="[Text]"/>
      <dgm:spPr/>
      <dgm:t>
        <a:bodyPr/>
        <a:lstStyle/>
        <a:p>
          <a:r>
            <a:rPr lang="en-US" dirty="0"/>
            <a:t>Use of data </a:t>
          </a:r>
        </a:p>
      </dgm:t>
    </dgm:pt>
    <dgm:pt modelId="{2EA4DB44-D1A8-4C45-B2BA-549327EE049F}" type="parTrans" cxnId="{5056A60C-6958-4D45-A7FB-22072A28F4CB}">
      <dgm:prSet/>
      <dgm:spPr/>
      <dgm:t>
        <a:bodyPr/>
        <a:lstStyle/>
        <a:p>
          <a:endParaRPr lang="en-US"/>
        </a:p>
      </dgm:t>
    </dgm:pt>
    <dgm:pt modelId="{A32F15B8-7018-4D07-9178-A6EBB12E954F}" type="sibTrans" cxnId="{5056A60C-6958-4D45-A7FB-22072A28F4CB}">
      <dgm:prSet/>
      <dgm:spPr/>
      <dgm:t>
        <a:bodyPr/>
        <a:lstStyle/>
        <a:p>
          <a:endParaRPr lang="en-US"/>
        </a:p>
      </dgm:t>
    </dgm:pt>
    <dgm:pt modelId="{6EBCD805-976C-4569-8D54-DEFF6797F7F1}">
      <dgm:prSet phldrT="[Text]"/>
      <dgm:spPr/>
      <dgm:t>
        <a:bodyPr/>
        <a:lstStyle/>
        <a:p>
          <a:r>
            <a:rPr lang="en-US" dirty="0"/>
            <a:t>Good </a:t>
          </a:r>
          <a:r>
            <a:rPr lang="en-US" b="1" dirty="0"/>
            <a:t>integration</a:t>
          </a:r>
          <a:r>
            <a:rPr lang="en-US" dirty="0"/>
            <a:t> end to end </a:t>
          </a:r>
        </a:p>
      </dgm:t>
    </dgm:pt>
    <dgm:pt modelId="{738FC986-4579-4892-B58E-31F1D64F24D0}" type="parTrans" cxnId="{3C3E6228-4E98-4D4C-BC9E-3C36FC1ABAC9}">
      <dgm:prSet/>
      <dgm:spPr/>
      <dgm:t>
        <a:bodyPr/>
        <a:lstStyle/>
        <a:p>
          <a:endParaRPr lang="en-US"/>
        </a:p>
      </dgm:t>
    </dgm:pt>
    <dgm:pt modelId="{023B97E0-9E8A-4C10-8A24-26C820C5FC2A}" type="sibTrans" cxnId="{3C3E6228-4E98-4D4C-BC9E-3C36FC1ABAC9}">
      <dgm:prSet/>
      <dgm:spPr/>
      <dgm:t>
        <a:bodyPr/>
        <a:lstStyle/>
        <a:p>
          <a:endParaRPr lang="en-US"/>
        </a:p>
      </dgm:t>
    </dgm:pt>
    <dgm:pt modelId="{CB512FDC-5295-49A3-A71A-118E13FABFEE}">
      <dgm:prSet phldrT="[Text]"/>
      <dgm:spPr/>
      <dgm:t>
        <a:bodyPr/>
        <a:lstStyle/>
        <a:p>
          <a:r>
            <a:rPr lang="en-US" dirty="0"/>
            <a:t>Safe recruitment  </a:t>
          </a:r>
        </a:p>
      </dgm:t>
    </dgm:pt>
    <dgm:pt modelId="{5BB5758A-CFAC-48B2-99AA-CD635CEAC680}" type="parTrans" cxnId="{EF5A8BEE-CA81-40D8-9F23-155B00B3B62B}">
      <dgm:prSet/>
      <dgm:spPr/>
    </dgm:pt>
    <dgm:pt modelId="{D3F5FC01-24E5-4E7F-8240-A2664895CFD8}" type="sibTrans" cxnId="{EF5A8BEE-CA81-40D8-9F23-155B00B3B62B}">
      <dgm:prSet/>
      <dgm:spPr/>
    </dgm:pt>
    <dgm:pt modelId="{C0C8FDEF-2879-46B0-BACC-B4B078055A8D}">
      <dgm:prSet phldrT="[Text]"/>
      <dgm:spPr/>
      <dgm:t>
        <a:bodyPr/>
        <a:lstStyle/>
        <a:p>
          <a:r>
            <a:rPr lang="en-US" dirty="0"/>
            <a:t>Demand planning and activation of responses </a:t>
          </a:r>
        </a:p>
      </dgm:t>
    </dgm:pt>
    <dgm:pt modelId="{B014C8F7-E437-42DD-85D7-97F164532457}" type="parTrans" cxnId="{8AD0024C-C5E0-4232-8191-127AFCD51A09}">
      <dgm:prSet/>
      <dgm:spPr/>
    </dgm:pt>
    <dgm:pt modelId="{DB06B7EB-737A-4EF8-B011-1E8357B7C8E4}" type="sibTrans" cxnId="{8AD0024C-C5E0-4232-8191-127AFCD51A09}">
      <dgm:prSet/>
      <dgm:spPr/>
    </dgm:pt>
    <dgm:pt modelId="{681D9F58-EDBF-40C5-9793-E2668411FA5D}">
      <dgm:prSet phldrT="[Text]"/>
      <dgm:spPr/>
      <dgm:t>
        <a:bodyPr/>
        <a:lstStyle/>
        <a:p>
          <a:r>
            <a:rPr lang="en-US" dirty="0"/>
            <a:t>Contact tracing – when most effective and comprehensive </a:t>
          </a:r>
        </a:p>
      </dgm:t>
    </dgm:pt>
    <dgm:pt modelId="{FDA83956-4BDC-4176-8F94-878187F8A394}" type="parTrans" cxnId="{37E7DD26-63A1-46E0-A665-476AEB003E69}">
      <dgm:prSet/>
      <dgm:spPr/>
    </dgm:pt>
    <dgm:pt modelId="{64F5EC53-9676-49E0-B7AA-C660A5385952}" type="sibTrans" cxnId="{37E7DD26-63A1-46E0-A665-476AEB003E69}">
      <dgm:prSet/>
      <dgm:spPr/>
    </dgm:pt>
    <dgm:pt modelId="{5268C452-564E-4CA3-AFB1-BB3A0E2F089A}" type="pres">
      <dgm:prSet presAssocID="{75F0D23D-27D5-4400-821D-1991690C9D4F}" presName="Name0" presStyleCnt="0">
        <dgm:presLayoutVars>
          <dgm:dir/>
          <dgm:animLvl val="lvl"/>
          <dgm:resizeHandles val="exact"/>
        </dgm:presLayoutVars>
      </dgm:prSet>
      <dgm:spPr/>
    </dgm:pt>
    <dgm:pt modelId="{86BA3F9F-05CB-4756-9689-E1C986202528}" type="pres">
      <dgm:prSet presAssocID="{62E84845-2583-42B7-8D14-9F833CE1E5D6}" presName="composite" presStyleCnt="0"/>
      <dgm:spPr/>
    </dgm:pt>
    <dgm:pt modelId="{656AC3D2-F8C1-4455-8207-FC71BE1763F8}" type="pres">
      <dgm:prSet presAssocID="{62E84845-2583-42B7-8D14-9F833CE1E5D6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1AFD1A67-4195-4570-9F19-ED46574FDBBB}" type="pres">
      <dgm:prSet presAssocID="{62E84845-2583-42B7-8D14-9F833CE1E5D6}" presName="desTx" presStyleLbl="alignAccFollowNode1" presStyleIdx="0" presStyleCnt="3">
        <dgm:presLayoutVars>
          <dgm:bulletEnabled val="1"/>
        </dgm:presLayoutVars>
      </dgm:prSet>
      <dgm:spPr/>
    </dgm:pt>
    <dgm:pt modelId="{91E193FD-5DBE-40C5-803B-8428C2FE7B81}" type="pres">
      <dgm:prSet presAssocID="{023D6FB0-CA4C-4037-B750-A851F2D80ED4}" presName="space" presStyleCnt="0"/>
      <dgm:spPr/>
    </dgm:pt>
    <dgm:pt modelId="{2F7F6725-58EE-4E77-8AEE-E0485FFF2390}" type="pres">
      <dgm:prSet presAssocID="{59AD4F19-8DD0-47A5-906A-F0F860DC9775}" presName="composite" presStyleCnt="0"/>
      <dgm:spPr/>
    </dgm:pt>
    <dgm:pt modelId="{A7369D4A-F102-47B9-BB50-05674C048CDD}" type="pres">
      <dgm:prSet presAssocID="{59AD4F19-8DD0-47A5-906A-F0F860DC9775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C7D68EBA-F4AA-48CC-8AE8-61EA95AE46E8}" type="pres">
      <dgm:prSet presAssocID="{59AD4F19-8DD0-47A5-906A-F0F860DC9775}" presName="desTx" presStyleLbl="alignAccFollowNode1" presStyleIdx="1" presStyleCnt="3">
        <dgm:presLayoutVars>
          <dgm:bulletEnabled val="1"/>
        </dgm:presLayoutVars>
      </dgm:prSet>
      <dgm:spPr/>
    </dgm:pt>
    <dgm:pt modelId="{21ED8A2C-2963-4000-8707-751CCC3C2E7E}" type="pres">
      <dgm:prSet presAssocID="{1D4474D6-BE89-4C2D-B76E-65B837A9EFFD}" presName="space" presStyleCnt="0"/>
      <dgm:spPr/>
    </dgm:pt>
    <dgm:pt modelId="{F57F05EB-E80F-460A-9BFB-99A138C2C341}" type="pres">
      <dgm:prSet presAssocID="{7D994679-3D1A-41A6-B50B-4B259878EF70}" presName="composite" presStyleCnt="0"/>
      <dgm:spPr/>
    </dgm:pt>
    <dgm:pt modelId="{62C22E41-0B6A-4C4B-B9B8-AE8649D7398E}" type="pres">
      <dgm:prSet presAssocID="{7D994679-3D1A-41A6-B50B-4B259878EF70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E623EB72-04EC-43E8-91D2-77CD168D17C2}" type="pres">
      <dgm:prSet presAssocID="{7D994679-3D1A-41A6-B50B-4B259878EF70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B550DD0B-BBDA-493C-AF7E-7E7AC39AB315}" srcId="{75F0D23D-27D5-4400-821D-1991690C9D4F}" destId="{62E84845-2583-42B7-8D14-9F833CE1E5D6}" srcOrd="0" destOrd="0" parTransId="{9DEB9487-5F04-4CFC-8406-5451EC46685E}" sibTransId="{023D6FB0-CA4C-4037-B750-A851F2D80ED4}"/>
    <dgm:cxn modelId="{5056A60C-6958-4D45-A7FB-22072A28F4CB}" srcId="{62E84845-2583-42B7-8D14-9F833CE1E5D6}" destId="{048E4062-DD42-43EF-A8FA-2433F2A058FB}" srcOrd="4" destOrd="0" parTransId="{2EA4DB44-D1A8-4C45-B2BA-549327EE049F}" sibTransId="{A32F15B8-7018-4D07-9178-A6EBB12E954F}"/>
    <dgm:cxn modelId="{C586120E-EE8E-4550-A60F-4DB302CDE38C}" type="presOf" srcId="{575B1E66-AB2C-405B-97CB-C1931CCC6D55}" destId="{C7D68EBA-F4AA-48CC-8AE8-61EA95AE46E8}" srcOrd="0" destOrd="3" presId="urn:microsoft.com/office/officeart/2005/8/layout/hList1"/>
    <dgm:cxn modelId="{78C1D013-5240-4E34-8353-BA914A44A586}" type="presOf" srcId="{8097A353-F4BC-4857-A857-73B5A0069A0C}" destId="{1AFD1A67-4195-4570-9F19-ED46574FDBBB}" srcOrd="0" destOrd="8" presId="urn:microsoft.com/office/officeart/2005/8/layout/hList1"/>
    <dgm:cxn modelId="{25F89A1E-F545-42CE-8BA2-A5BBBF7A882D}" srcId="{59AD4F19-8DD0-47A5-906A-F0F860DC9775}" destId="{DC2ACCB6-B706-454E-AA92-87C2F9F19909}" srcOrd="1" destOrd="0" parTransId="{A065B1DE-66D3-42EB-BCA0-6EAD061DA394}" sibTransId="{FE80D03F-70FB-4C9E-B282-5D139B295A88}"/>
    <dgm:cxn modelId="{37E7DD26-63A1-46E0-A665-476AEB003E69}" srcId="{62E84845-2583-42B7-8D14-9F833CE1E5D6}" destId="{681D9F58-EDBF-40C5-9793-E2668411FA5D}" srcOrd="5" destOrd="0" parTransId="{FDA83956-4BDC-4176-8F94-878187F8A394}" sibTransId="{64F5EC53-9676-49E0-B7AA-C660A5385952}"/>
    <dgm:cxn modelId="{3C3E6228-4E98-4D4C-BC9E-3C36FC1ABAC9}" srcId="{59AD4F19-8DD0-47A5-906A-F0F860DC9775}" destId="{6EBCD805-976C-4569-8D54-DEFF6797F7F1}" srcOrd="0" destOrd="0" parTransId="{738FC986-4579-4892-B58E-31F1D64F24D0}" sibTransId="{023B97E0-9E8A-4C10-8A24-26C820C5FC2A}"/>
    <dgm:cxn modelId="{D228F72D-FB82-494B-B7EA-50D8B96B3223}" type="presOf" srcId="{62E84845-2583-42B7-8D14-9F833CE1E5D6}" destId="{656AC3D2-F8C1-4455-8207-FC71BE1763F8}" srcOrd="0" destOrd="0" presId="urn:microsoft.com/office/officeart/2005/8/layout/hList1"/>
    <dgm:cxn modelId="{3D65F12E-FE36-4536-9370-23FBDA1D5735}" srcId="{62E84845-2583-42B7-8D14-9F833CE1E5D6}" destId="{491551A1-44F0-4A05-9E98-263EBB1C5825}" srcOrd="6" destOrd="0" parTransId="{48F54635-4B27-4C89-A8FD-C0628B59F052}" sibTransId="{A8E107FB-4E4B-4D46-8853-521B27ECDA53}"/>
    <dgm:cxn modelId="{6D159332-8F9B-4F59-AED7-B92A8360298C}" srcId="{62E84845-2583-42B7-8D14-9F833CE1E5D6}" destId="{09C74711-811E-46E3-8967-661F211D46AD}" srcOrd="3" destOrd="0" parTransId="{7C77212A-5098-4547-AD37-278EDA7A0AA9}" sibTransId="{165B7646-32DC-41BE-985D-1DD8758F6F97}"/>
    <dgm:cxn modelId="{2D466B3B-BB16-4EA2-8386-CBC6D401E1EF}" type="presOf" srcId="{048E4062-DD42-43EF-A8FA-2433F2A058FB}" destId="{1AFD1A67-4195-4570-9F19-ED46574FDBBB}" srcOrd="0" destOrd="4" presId="urn:microsoft.com/office/officeart/2005/8/layout/hList1"/>
    <dgm:cxn modelId="{0F56213E-8012-41B5-87B7-C1113ED0B51E}" srcId="{7D994679-3D1A-41A6-B50B-4B259878EF70}" destId="{E7CB99BC-E356-4C6F-8C3B-7F854B8A54D5}" srcOrd="4" destOrd="0" parTransId="{7AD1FD78-CBCD-4F86-9E23-5DD881643036}" sibTransId="{724EE135-1325-4E53-85B4-C1F05465AF8E}"/>
    <dgm:cxn modelId="{3A9AFC5B-25DA-428E-BA31-3742C8E3D4CD}" type="presOf" srcId="{59AD4F19-8DD0-47A5-906A-F0F860DC9775}" destId="{A7369D4A-F102-47B9-BB50-05674C048CDD}" srcOrd="0" destOrd="0" presId="urn:microsoft.com/office/officeart/2005/8/layout/hList1"/>
    <dgm:cxn modelId="{514F9064-1E64-4152-931B-C8EDD0906F61}" type="presOf" srcId="{386EB4C3-F2BC-466D-ADBC-6FA9705202A6}" destId="{C7D68EBA-F4AA-48CC-8AE8-61EA95AE46E8}" srcOrd="0" destOrd="6" presId="urn:microsoft.com/office/officeart/2005/8/layout/hList1"/>
    <dgm:cxn modelId="{3E59CA48-6E78-4C56-88C0-F2405C8FE982}" type="presOf" srcId="{D9B15053-572A-489F-9B3F-1E2D8BE5A12C}" destId="{1AFD1A67-4195-4570-9F19-ED46574FDBBB}" srcOrd="0" destOrd="2" presId="urn:microsoft.com/office/officeart/2005/8/layout/hList1"/>
    <dgm:cxn modelId="{B03A9A4A-532B-4C25-B3F8-8BC4A83FDBEE}" srcId="{75F0D23D-27D5-4400-821D-1991690C9D4F}" destId="{59AD4F19-8DD0-47A5-906A-F0F860DC9775}" srcOrd="1" destOrd="0" parTransId="{6314417A-32C8-4897-A49C-217DB49864DF}" sibTransId="{1D4474D6-BE89-4C2D-B76E-65B837A9EFFD}"/>
    <dgm:cxn modelId="{8AD0024C-C5E0-4232-8191-127AFCD51A09}" srcId="{7D994679-3D1A-41A6-B50B-4B259878EF70}" destId="{C0C8FDEF-2879-46B0-BACC-B4B078055A8D}" srcOrd="1" destOrd="0" parTransId="{B014C8F7-E437-42DD-85D7-97F164532457}" sibTransId="{DB06B7EB-737A-4EF8-B011-1E8357B7C8E4}"/>
    <dgm:cxn modelId="{6F5E3A4D-7156-4C29-8578-F0E88F8BE1C3}" srcId="{7D994679-3D1A-41A6-B50B-4B259878EF70}" destId="{F96CA501-214F-4F4E-A1DE-78D8F268B14B}" srcOrd="2" destOrd="0" parTransId="{F519059D-FC9D-49DB-AF6E-1AE4C3F1F45B}" sibTransId="{0D201DAB-7782-4184-885D-35D0047EF6B3}"/>
    <dgm:cxn modelId="{07B77870-DB2D-4405-9CD1-CD73357F21E5}" srcId="{59AD4F19-8DD0-47A5-906A-F0F860DC9775}" destId="{AA42FAC0-4E35-4666-81FC-42C68140A11F}" srcOrd="2" destOrd="0" parTransId="{469C7C7E-3A1A-44E9-A259-92E309CF7B61}" sibTransId="{2BDBFDA5-67DA-4DF3-A77E-E1108C3683F4}"/>
    <dgm:cxn modelId="{AE2F3352-6192-403B-8CCF-26ECB7B93488}" type="presOf" srcId="{242296C4-59B7-4B72-B048-9C467624361E}" destId="{1AFD1A67-4195-4570-9F19-ED46574FDBBB}" srcOrd="0" destOrd="1" presId="urn:microsoft.com/office/officeart/2005/8/layout/hList1"/>
    <dgm:cxn modelId="{69776373-FDB9-4E11-8A28-39713B38A1D4}" srcId="{59AD4F19-8DD0-47A5-906A-F0F860DC9775}" destId="{0A988EE6-4E8B-4E55-A420-EB1011E3088A}" srcOrd="7" destOrd="0" parTransId="{751D3B55-9E07-4C7E-87EC-144D3A66D0D1}" sibTransId="{FBE81BF9-DFED-40C4-9A39-E64A7D15F7B1}"/>
    <dgm:cxn modelId="{10B99174-BFA5-4B6C-9282-C14F70CDFB64}" type="presOf" srcId="{0D35BBA1-BB08-46B5-8028-30342324A3FF}" destId="{1AFD1A67-4195-4570-9F19-ED46574FDBBB}" srcOrd="0" destOrd="7" presId="urn:microsoft.com/office/officeart/2005/8/layout/hList1"/>
    <dgm:cxn modelId="{6DFC1A77-C032-49AA-AF70-9979915D2A80}" srcId="{59AD4F19-8DD0-47A5-906A-F0F860DC9775}" destId="{48034BA3-AB9F-4EFB-A630-EAC49B8B7CE1}" srcOrd="4" destOrd="0" parTransId="{A68AC1F4-D2B1-4781-B23B-36A1F1B87D14}" sibTransId="{809E76B8-0981-4F1F-8DBE-D5308345C80C}"/>
    <dgm:cxn modelId="{22003677-B781-4FA0-9A90-94051F5C43E6}" type="presOf" srcId="{F96CA501-214F-4F4E-A1DE-78D8F268B14B}" destId="{E623EB72-04EC-43E8-91D2-77CD168D17C2}" srcOrd="0" destOrd="2" presId="urn:microsoft.com/office/officeart/2005/8/layout/hList1"/>
    <dgm:cxn modelId="{3B52DB79-2E21-45AC-A3EB-368DB50CA046}" srcId="{7D994679-3D1A-41A6-B50B-4B259878EF70}" destId="{E78ACDD3-E0B5-4B51-9A1B-FBA1632962B6}" srcOrd="0" destOrd="0" parTransId="{C9D7EBC8-BD01-4AC0-A051-5BB09A2046E2}" sibTransId="{6293F33B-18BE-4C2C-9BA0-1F7B331D323C}"/>
    <dgm:cxn modelId="{11B0FC7E-80BD-4F8A-9287-43C0563F190E}" srcId="{59AD4F19-8DD0-47A5-906A-F0F860DC9775}" destId="{386EB4C3-F2BC-466D-ADBC-6FA9705202A6}" srcOrd="6" destOrd="0" parTransId="{AE7585D3-2EF6-4DA6-B166-D41ADFA8EF14}" sibTransId="{FC49A08F-43AC-4E8D-9426-16D69B627950}"/>
    <dgm:cxn modelId="{5C773E81-580F-4B77-93DD-2D63EFC69FFF}" srcId="{59AD4F19-8DD0-47A5-906A-F0F860DC9775}" destId="{7D2BF579-9FB1-4C9D-A5A3-4012E98B5158}" srcOrd="5" destOrd="0" parTransId="{66F26C53-21EB-45CC-9287-A40788671276}" sibTransId="{C450D8E3-BD83-42F5-9889-1301F97DBBB9}"/>
    <dgm:cxn modelId="{D3F9E881-10ED-44CB-8851-5CA3F33A8587}" type="presOf" srcId="{CB512FDC-5295-49A3-A71A-118E13FABFEE}" destId="{C7D68EBA-F4AA-48CC-8AE8-61EA95AE46E8}" srcOrd="0" destOrd="8" presId="urn:microsoft.com/office/officeart/2005/8/layout/hList1"/>
    <dgm:cxn modelId="{6AF86789-4524-442E-9584-4FF0C7758384}" type="presOf" srcId="{0E60D59F-FD97-4AF3-A3FF-13953E3B3BC5}" destId="{E623EB72-04EC-43E8-91D2-77CD168D17C2}" srcOrd="0" destOrd="3" presId="urn:microsoft.com/office/officeart/2005/8/layout/hList1"/>
    <dgm:cxn modelId="{30CBDF91-9D7C-44BE-890A-E2576770B1F3}" srcId="{62E84845-2583-42B7-8D14-9F833CE1E5D6}" destId="{8D200C9E-3D20-4C58-9B49-8B010E10F91E}" srcOrd="0" destOrd="0" parTransId="{081CA75F-9EA8-4E8F-AB4A-5FEA4DB9304E}" sibTransId="{18531DB3-62B2-4F3C-811D-B7DC8D38255F}"/>
    <dgm:cxn modelId="{21EFEBA2-732D-48D2-B41B-FDC795DA3C20}" srcId="{59AD4F19-8DD0-47A5-906A-F0F860DC9775}" destId="{575B1E66-AB2C-405B-97CB-C1931CCC6D55}" srcOrd="3" destOrd="0" parTransId="{41589628-5E80-4A62-ACE8-88E6F8E04C85}" sibTransId="{648B83EA-B82C-4F54-ACB5-24C89DC67FC7}"/>
    <dgm:cxn modelId="{BFD8D6A4-E216-4CC9-964D-84DC424AFFCC}" srcId="{75F0D23D-27D5-4400-821D-1991690C9D4F}" destId="{7D994679-3D1A-41A6-B50B-4B259878EF70}" srcOrd="2" destOrd="0" parTransId="{2D938797-3762-4E2A-A1AA-968ED7ED8CA7}" sibTransId="{2B87AC67-8CA8-4554-BA01-374A584B4121}"/>
    <dgm:cxn modelId="{97C5E6A4-8C4F-472B-B829-BDDC4BD8B446}" type="presOf" srcId="{75F0D23D-27D5-4400-821D-1991690C9D4F}" destId="{5268C452-564E-4CA3-AFB1-BB3A0E2F089A}" srcOrd="0" destOrd="0" presId="urn:microsoft.com/office/officeart/2005/8/layout/hList1"/>
    <dgm:cxn modelId="{5FE53AA5-82CB-479E-BA1F-5074147D8725}" type="presOf" srcId="{8D200C9E-3D20-4C58-9B49-8B010E10F91E}" destId="{1AFD1A67-4195-4570-9F19-ED46574FDBBB}" srcOrd="0" destOrd="0" presId="urn:microsoft.com/office/officeart/2005/8/layout/hList1"/>
    <dgm:cxn modelId="{977071AA-8EB3-4083-B783-3ADA14A76781}" type="presOf" srcId="{E78ACDD3-E0B5-4B51-9A1B-FBA1632962B6}" destId="{E623EB72-04EC-43E8-91D2-77CD168D17C2}" srcOrd="0" destOrd="0" presId="urn:microsoft.com/office/officeart/2005/8/layout/hList1"/>
    <dgm:cxn modelId="{D4D69DAA-6B39-44FE-921C-F89067A9F9E8}" srcId="{62E84845-2583-42B7-8D14-9F833CE1E5D6}" destId="{8097A353-F4BC-4857-A857-73B5A0069A0C}" srcOrd="8" destOrd="0" parTransId="{5E8FC560-C7F0-4AD6-B2D8-EDF3EA8AA6D7}" sibTransId="{9D076F3C-A83F-4B84-9CF9-FE58D2BA6531}"/>
    <dgm:cxn modelId="{9683E2AE-0634-4559-8E4C-8CA13E6C1617}" srcId="{7D994679-3D1A-41A6-B50B-4B259878EF70}" destId="{0E60D59F-FD97-4AF3-A3FF-13953E3B3BC5}" srcOrd="3" destOrd="0" parTransId="{D64988C0-2231-428E-9750-9729D40ED217}" sibTransId="{250E88A6-37F7-4077-A9BF-534B494BF0F7}"/>
    <dgm:cxn modelId="{BFA698B2-CCD0-48D4-9713-6D08E87D034F}" type="presOf" srcId="{AA42FAC0-4E35-4666-81FC-42C68140A11F}" destId="{C7D68EBA-F4AA-48CC-8AE8-61EA95AE46E8}" srcOrd="0" destOrd="2" presId="urn:microsoft.com/office/officeart/2005/8/layout/hList1"/>
    <dgm:cxn modelId="{C6AA07C2-BD77-447E-BABE-015FEDCB6535}" type="presOf" srcId="{7D2BF579-9FB1-4C9D-A5A3-4012E98B5158}" destId="{C7D68EBA-F4AA-48CC-8AE8-61EA95AE46E8}" srcOrd="0" destOrd="5" presId="urn:microsoft.com/office/officeart/2005/8/layout/hList1"/>
    <dgm:cxn modelId="{55DD8FC7-52B1-409B-9E3D-408C60ADAEAF}" type="presOf" srcId="{E7CB99BC-E356-4C6F-8C3B-7F854B8A54D5}" destId="{E623EB72-04EC-43E8-91D2-77CD168D17C2}" srcOrd="0" destOrd="4" presId="urn:microsoft.com/office/officeart/2005/8/layout/hList1"/>
    <dgm:cxn modelId="{60E2B4CC-7FAB-40FA-B677-F9567AEF8B6C}" srcId="{62E84845-2583-42B7-8D14-9F833CE1E5D6}" destId="{242296C4-59B7-4B72-B048-9C467624361E}" srcOrd="1" destOrd="0" parTransId="{926244F2-2E9E-40F5-AE15-FE7B89C5739A}" sibTransId="{CCD23712-975C-4FD7-BE6F-60D366D4F2CE}"/>
    <dgm:cxn modelId="{6603B3D2-B2DF-48B5-88D5-41B73DEEEDEF}" type="presOf" srcId="{C0C8FDEF-2879-46B0-BACC-B4B078055A8D}" destId="{E623EB72-04EC-43E8-91D2-77CD168D17C2}" srcOrd="0" destOrd="1" presId="urn:microsoft.com/office/officeart/2005/8/layout/hList1"/>
    <dgm:cxn modelId="{8827E8D3-F2B3-49DB-B438-8C371D1E96C3}" type="presOf" srcId="{0A988EE6-4E8B-4E55-A420-EB1011E3088A}" destId="{C7D68EBA-F4AA-48CC-8AE8-61EA95AE46E8}" srcOrd="0" destOrd="7" presId="urn:microsoft.com/office/officeart/2005/8/layout/hList1"/>
    <dgm:cxn modelId="{1B7B0ED5-58A8-406E-B1AE-D067E965BE08}" type="presOf" srcId="{681D9F58-EDBF-40C5-9793-E2668411FA5D}" destId="{1AFD1A67-4195-4570-9F19-ED46574FDBBB}" srcOrd="0" destOrd="5" presId="urn:microsoft.com/office/officeart/2005/8/layout/hList1"/>
    <dgm:cxn modelId="{0D254CDC-5414-4940-B35B-97A2DACAE451}" type="presOf" srcId="{DC2ACCB6-B706-454E-AA92-87C2F9F19909}" destId="{C7D68EBA-F4AA-48CC-8AE8-61EA95AE46E8}" srcOrd="0" destOrd="1" presId="urn:microsoft.com/office/officeart/2005/8/layout/hList1"/>
    <dgm:cxn modelId="{45273AE5-969C-4761-BC4F-36B9B9ADA2A5}" type="presOf" srcId="{48034BA3-AB9F-4EFB-A630-EAC49B8B7CE1}" destId="{C7D68EBA-F4AA-48CC-8AE8-61EA95AE46E8}" srcOrd="0" destOrd="4" presId="urn:microsoft.com/office/officeart/2005/8/layout/hList1"/>
    <dgm:cxn modelId="{3BA0CEE6-D1D6-4D6B-AC94-1E6842D9F3AD}" type="presOf" srcId="{7D994679-3D1A-41A6-B50B-4B259878EF70}" destId="{62C22E41-0B6A-4C4B-B9B8-AE8649D7398E}" srcOrd="0" destOrd="0" presId="urn:microsoft.com/office/officeart/2005/8/layout/hList1"/>
    <dgm:cxn modelId="{F9EF90ED-935E-419F-A3E6-C9D375B1E877}" type="presOf" srcId="{491551A1-44F0-4A05-9E98-263EBB1C5825}" destId="{1AFD1A67-4195-4570-9F19-ED46574FDBBB}" srcOrd="0" destOrd="6" presId="urn:microsoft.com/office/officeart/2005/8/layout/hList1"/>
    <dgm:cxn modelId="{EF5A8BEE-CA81-40D8-9F23-155B00B3B62B}" srcId="{59AD4F19-8DD0-47A5-906A-F0F860DC9775}" destId="{CB512FDC-5295-49A3-A71A-118E13FABFEE}" srcOrd="8" destOrd="0" parTransId="{5BB5758A-CFAC-48B2-99AA-CD635CEAC680}" sibTransId="{D3F5FC01-24E5-4E7F-8240-A2664895CFD8}"/>
    <dgm:cxn modelId="{A5374EEF-E735-40E6-9FC6-F027CF5489D0}" type="presOf" srcId="{09C74711-811E-46E3-8967-661F211D46AD}" destId="{1AFD1A67-4195-4570-9F19-ED46574FDBBB}" srcOrd="0" destOrd="3" presId="urn:microsoft.com/office/officeart/2005/8/layout/hList1"/>
    <dgm:cxn modelId="{78A23AF4-01EF-4348-AEE4-BCDF35CDFBAF}" srcId="{62E84845-2583-42B7-8D14-9F833CE1E5D6}" destId="{0D35BBA1-BB08-46B5-8028-30342324A3FF}" srcOrd="7" destOrd="0" parTransId="{3D1EAD0B-5163-4497-A153-4F3051F0F459}" sibTransId="{9D37CB9C-5C52-4324-A8A7-761A2A9EA08C}"/>
    <dgm:cxn modelId="{5A06C4F6-1788-4E04-B7E1-2227B16DE5DE}" type="presOf" srcId="{6EBCD805-976C-4569-8D54-DEFF6797F7F1}" destId="{C7D68EBA-F4AA-48CC-8AE8-61EA95AE46E8}" srcOrd="0" destOrd="0" presId="urn:microsoft.com/office/officeart/2005/8/layout/hList1"/>
    <dgm:cxn modelId="{3E22D8F8-613F-4838-8B5C-9288C91293D3}" srcId="{62E84845-2583-42B7-8D14-9F833CE1E5D6}" destId="{D9B15053-572A-489F-9B3F-1E2D8BE5A12C}" srcOrd="2" destOrd="0" parTransId="{D73CEDBA-5CC4-4FF3-A8E8-14177A1B1562}" sibTransId="{2C601621-F71E-48DF-BDBA-3B1680CCD35F}"/>
    <dgm:cxn modelId="{4F2465B2-237B-4DC9-99F4-4D0D76B78DA2}" type="presParOf" srcId="{5268C452-564E-4CA3-AFB1-BB3A0E2F089A}" destId="{86BA3F9F-05CB-4756-9689-E1C986202528}" srcOrd="0" destOrd="0" presId="urn:microsoft.com/office/officeart/2005/8/layout/hList1"/>
    <dgm:cxn modelId="{203BA65A-7261-4517-B0B3-7FB7EAD0029E}" type="presParOf" srcId="{86BA3F9F-05CB-4756-9689-E1C986202528}" destId="{656AC3D2-F8C1-4455-8207-FC71BE1763F8}" srcOrd="0" destOrd="0" presId="urn:microsoft.com/office/officeart/2005/8/layout/hList1"/>
    <dgm:cxn modelId="{BB920870-7012-4E72-8C02-A71FB6011F43}" type="presParOf" srcId="{86BA3F9F-05CB-4756-9689-E1C986202528}" destId="{1AFD1A67-4195-4570-9F19-ED46574FDBBB}" srcOrd="1" destOrd="0" presId="urn:microsoft.com/office/officeart/2005/8/layout/hList1"/>
    <dgm:cxn modelId="{C971218D-15C1-416A-8F2A-9033C3CDE642}" type="presParOf" srcId="{5268C452-564E-4CA3-AFB1-BB3A0E2F089A}" destId="{91E193FD-5DBE-40C5-803B-8428C2FE7B81}" srcOrd="1" destOrd="0" presId="urn:microsoft.com/office/officeart/2005/8/layout/hList1"/>
    <dgm:cxn modelId="{0CC0E382-C4E2-4911-ABD6-F6D0D22AE5BF}" type="presParOf" srcId="{5268C452-564E-4CA3-AFB1-BB3A0E2F089A}" destId="{2F7F6725-58EE-4E77-8AEE-E0485FFF2390}" srcOrd="2" destOrd="0" presId="urn:microsoft.com/office/officeart/2005/8/layout/hList1"/>
    <dgm:cxn modelId="{EC9BDDD4-7893-4985-98B8-566D9AE7014C}" type="presParOf" srcId="{2F7F6725-58EE-4E77-8AEE-E0485FFF2390}" destId="{A7369D4A-F102-47B9-BB50-05674C048CDD}" srcOrd="0" destOrd="0" presId="urn:microsoft.com/office/officeart/2005/8/layout/hList1"/>
    <dgm:cxn modelId="{E011B8F2-7825-4E6E-8628-382EADD967E5}" type="presParOf" srcId="{2F7F6725-58EE-4E77-8AEE-E0485FFF2390}" destId="{C7D68EBA-F4AA-48CC-8AE8-61EA95AE46E8}" srcOrd="1" destOrd="0" presId="urn:microsoft.com/office/officeart/2005/8/layout/hList1"/>
    <dgm:cxn modelId="{22902A8C-379B-4977-ACC7-E798D2EA7CCB}" type="presParOf" srcId="{5268C452-564E-4CA3-AFB1-BB3A0E2F089A}" destId="{21ED8A2C-2963-4000-8707-751CCC3C2E7E}" srcOrd="3" destOrd="0" presId="urn:microsoft.com/office/officeart/2005/8/layout/hList1"/>
    <dgm:cxn modelId="{F1982065-DB38-4697-9D39-B8BE1F63D48F}" type="presParOf" srcId="{5268C452-564E-4CA3-AFB1-BB3A0E2F089A}" destId="{F57F05EB-E80F-460A-9BFB-99A138C2C341}" srcOrd="4" destOrd="0" presId="urn:microsoft.com/office/officeart/2005/8/layout/hList1"/>
    <dgm:cxn modelId="{9B7F6631-71D2-417B-8459-0BE58DCEDA36}" type="presParOf" srcId="{F57F05EB-E80F-460A-9BFB-99A138C2C341}" destId="{62C22E41-0B6A-4C4B-B9B8-AE8649D7398E}" srcOrd="0" destOrd="0" presId="urn:microsoft.com/office/officeart/2005/8/layout/hList1"/>
    <dgm:cxn modelId="{AE69AAC3-FC7B-49A0-91B8-8406A30413F6}" type="presParOf" srcId="{F57F05EB-E80F-460A-9BFB-99A138C2C341}" destId="{E623EB72-04EC-43E8-91D2-77CD168D17C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CCC2B4-A400-492F-9509-00C28B1938DE}">
      <dsp:nvSpPr>
        <dsp:cNvPr id="0" name=""/>
        <dsp:cNvSpPr/>
      </dsp:nvSpPr>
      <dsp:spPr>
        <a:xfrm>
          <a:off x="-6335106" y="-969051"/>
          <a:ext cx="7540726" cy="7540726"/>
        </a:xfrm>
        <a:prstGeom prst="blockArc">
          <a:avLst>
            <a:gd name="adj1" fmla="val 18900000"/>
            <a:gd name="adj2" fmla="val 2700000"/>
            <a:gd name="adj3" fmla="val 286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59AE1B-5195-46F7-AE20-15E500154B0A}">
      <dsp:nvSpPr>
        <dsp:cNvPr id="0" name=""/>
        <dsp:cNvSpPr/>
      </dsp:nvSpPr>
      <dsp:spPr>
        <a:xfrm>
          <a:off x="526716" y="350051"/>
          <a:ext cx="7817360" cy="70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6063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KPI suite and dashboard </a:t>
          </a:r>
        </a:p>
      </dsp:txBody>
      <dsp:txXfrm>
        <a:off x="526716" y="350051"/>
        <a:ext cx="7817360" cy="700552"/>
      </dsp:txXfrm>
    </dsp:sp>
    <dsp:sp modelId="{B919C942-98B9-4031-AB92-8CD3496CA105}">
      <dsp:nvSpPr>
        <dsp:cNvPr id="0" name=""/>
        <dsp:cNvSpPr/>
      </dsp:nvSpPr>
      <dsp:spPr>
        <a:xfrm>
          <a:off x="88871" y="262482"/>
          <a:ext cx="875690" cy="8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802966-631C-4BE3-AE31-FA50E67335E5}">
      <dsp:nvSpPr>
        <dsp:cNvPr id="0" name=""/>
        <dsp:cNvSpPr/>
      </dsp:nvSpPr>
      <dsp:spPr>
        <a:xfrm>
          <a:off x="1028711" y="1400543"/>
          <a:ext cx="7315364" cy="70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6063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/>
            <a:t>Programme</a:t>
          </a:r>
          <a:r>
            <a:rPr lang="en-US" sz="2200" kern="1200" dirty="0"/>
            <a:t> Management Office -  tracks improvement </a:t>
          </a:r>
        </a:p>
      </dsp:txBody>
      <dsp:txXfrm>
        <a:off x="1028711" y="1400543"/>
        <a:ext cx="7315364" cy="700552"/>
      </dsp:txXfrm>
    </dsp:sp>
    <dsp:sp modelId="{1D9C25E6-C735-4EA7-B915-9D5EAE43F262}">
      <dsp:nvSpPr>
        <dsp:cNvPr id="0" name=""/>
        <dsp:cNvSpPr/>
      </dsp:nvSpPr>
      <dsp:spPr>
        <a:xfrm>
          <a:off x="590866" y="1312974"/>
          <a:ext cx="875690" cy="8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CB13C4-E727-439F-B237-94B0510113D0}">
      <dsp:nvSpPr>
        <dsp:cNvPr id="0" name=""/>
        <dsp:cNvSpPr/>
      </dsp:nvSpPr>
      <dsp:spPr>
        <a:xfrm>
          <a:off x="1182783" y="2451035"/>
          <a:ext cx="7161292" cy="70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6063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Overarching QA system in development – local in place  </a:t>
          </a:r>
        </a:p>
      </dsp:txBody>
      <dsp:txXfrm>
        <a:off x="1182783" y="2451035"/>
        <a:ext cx="7161292" cy="700552"/>
      </dsp:txXfrm>
    </dsp:sp>
    <dsp:sp modelId="{08D0180B-D61B-499F-9D2E-E23BE79EE0CE}">
      <dsp:nvSpPr>
        <dsp:cNvPr id="0" name=""/>
        <dsp:cNvSpPr/>
      </dsp:nvSpPr>
      <dsp:spPr>
        <a:xfrm>
          <a:off x="744938" y="2363466"/>
          <a:ext cx="875690" cy="8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E38968-8528-4D86-8430-BDC1D707971F}">
      <dsp:nvSpPr>
        <dsp:cNvPr id="0" name=""/>
        <dsp:cNvSpPr/>
      </dsp:nvSpPr>
      <dsp:spPr>
        <a:xfrm>
          <a:off x="1028711" y="3501527"/>
          <a:ext cx="7315364" cy="70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6063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National integrated governance end to end </a:t>
          </a:r>
        </a:p>
      </dsp:txBody>
      <dsp:txXfrm>
        <a:off x="1028711" y="3501527"/>
        <a:ext cx="7315364" cy="700552"/>
      </dsp:txXfrm>
    </dsp:sp>
    <dsp:sp modelId="{0DB8492C-C82A-4879-BC7E-605670CA7A7A}">
      <dsp:nvSpPr>
        <dsp:cNvPr id="0" name=""/>
        <dsp:cNvSpPr/>
      </dsp:nvSpPr>
      <dsp:spPr>
        <a:xfrm>
          <a:off x="590866" y="3413958"/>
          <a:ext cx="875690" cy="8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C52B56-86B8-492B-9B87-4D2DF60B5A49}">
      <dsp:nvSpPr>
        <dsp:cNvPr id="0" name=""/>
        <dsp:cNvSpPr/>
      </dsp:nvSpPr>
      <dsp:spPr>
        <a:xfrm>
          <a:off x="526716" y="4552019"/>
          <a:ext cx="7817360" cy="700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6063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Operations monitoring  function established </a:t>
          </a:r>
        </a:p>
      </dsp:txBody>
      <dsp:txXfrm>
        <a:off x="526716" y="4552019"/>
        <a:ext cx="7817360" cy="700552"/>
      </dsp:txXfrm>
    </dsp:sp>
    <dsp:sp modelId="{01F8635B-A346-4965-B7AC-D05CF0866F1F}">
      <dsp:nvSpPr>
        <dsp:cNvPr id="0" name=""/>
        <dsp:cNvSpPr/>
      </dsp:nvSpPr>
      <dsp:spPr>
        <a:xfrm>
          <a:off x="88871" y="4464450"/>
          <a:ext cx="875690" cy="875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6AC3D2-F8C1-4455-8207-FC71BE1763F8}">
      <dsp:nvSpPr>
        <dsp:cNvPr id="0" name=""/>
        <dsp:cNvSpPr/>
      </dsp:nvSpPr>
      <dsp:spPr>
        <a:xfrm>
          <a:off x="3286" y="167440"/>
          <a:ext cx="3203971" cy="604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Effective</a:t>
          </a:r>
        </a:p>
      </dsp:txBody>
      <dsp:txXfrm>
        <a:off x="3286" y="167440"/>
        <a:ext cx="3203971" cy="604800"/>
      </dsp:txXfrm>
    </dsp:sp>
    <dsp:sp modelId="{1AFD1A67-4195-4570-9F19-ED46574FDBBB}">
      <dsp:nvSpPr>
        <dsp:cNvPr id="0" name=""/>
        <dsp:cNvSpPr/>
      </dsp:nvSpPr>
      <dsp:spPr>
        <a:xfrm>
          <a:off x="3286" y="772240"/>
          <a:ext cx="3203971" cy="50727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Underpinned by evidence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1" kern="1200" dirty="0"/>
            <a:t>Validation</a:t>
          </a:r>
          <a:r>
            <a:rPr lang="en-US" sz="2100" kern="1200" dirty="0"/>
            <a:t>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Quality assurance systems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1" kern="1200" dirty="0"/>
            <a:t>Systems to learn and improve – rapidly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Use of data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Contact tracing – when most effective and comprehensive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1" kern="1200" dirty="0"/>
            <a:t>Evaluate impact on spread and protecting health </a:t>
          </a:r>
          <a:r>
            <a:rPr lang="en-US" sz="2100" b="1" kern="1200" dirty="0" err="1"/>
            <a:t>etc</a:t>
          </a:r>
          <a:r>
            <a:rPr lang="en-US" sz="2100" b="1" kern="1200" dirty="0"/>
            <a:t>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100" kern="1200" dirty="0"/>
        </a:p>
      </dsp:txBody>
      <dsp:txXfrm>
        <a:off x="3286" y="772240"/>
        <a:ext cx="3203971" cy="5072760"/>
      </dsp:txXfrm>
    </dsp:sp>
    <dsp:sp modelId="{A7369D4A-F102-47B9-BB50-05674C048CDD}">
      <dsp:nvSpPr>
        <dsp:cNvPr id="0" name=""/>
        <dsp:cNvSpPr/>
      </dsp:nvSpPr>
      <dsp:spPr>
        <a:xfrm>
          <a:off x="3655814" y="167440"/>
          <a:ext cx="3203971" cy="604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Well-led</a:t>
          </a:r>
        </a:p>
      </dsp:txBody>
      <dsp:txXfrm>
        <a:off x="3655814" y="167440"/>
        <a:ext cx="3203971" cy="604800"/>
      </dsp:txXfrm>
    </dsp:sp>
    <dsp:sp modelId="{C7D68EBA-F4AA-48CC-8AE8-61EA95AE46E8}">
      <dsp:nvSpPr>
        <dsp:cNvPr id="0" name=""/>
        <dsp:cNvSpPr/>
      </dsp:nvSpPr>
      <dsp:spPr>
        <a:xfrm>
          <a:off x="3655814" y="772240"/>
          <a:ext cx="3203971" cy="50727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Good </a:t>
          </a:r>
          <a:r>
            <a:rPr lang="en-US" sz="2100" b="1" kern="1200" dirty="0"/>
            <a:t>integration</a:t>
          </a:r>
          <a:r>
            <a:rPr lang="en-US" sz="2100" kern="1200" dirty="0"/>
            <a:t> end to end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Clear purpose and roles and responsibilities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1" kern="1200" dirty="0"/>
            <a:t>Clinical leadership 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Doing the basics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Clear operational model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End to end risk management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Information management systems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1" kern="1200" dirty="0"/>
            <a:t>Operational plans based on scenarios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Safe recruitment  </a:t>
          </a:r>
        </a:p>
      </dsp:txBody>
      <dsp:txXfrm>
        <a:off x="3655814" y="772240"/>
        <a:ext cx="3203971" cy="5072760"/>
      </dsp:txXfrm>
    </dsp:sp>
    <dsp:sp modelId="{62C22E41-0B6A-4C4B-B9B8-AE8649D7398E}">
      <dsp:nvSpPr>
        <dsp:cNvPr id="0" name=""/>
        <dsp:cNvSpPr/>
      </dsp:nvSpPr>
      <dsp:spPr>
        <a:xfrm>
          <a:off x="7308342" y="167440"/>
          <a:ext cx="3203971" cy="604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Responsive</a:t>
          </a:r>
        </a:p>
      </dsp:txBody>
      <dsp:txXfrm>
        <a:off x="7308342" y="167440"/>
        <a:ext cx="3203971" cy="604800"/>
      </dsp:txXfrm>
    </dsp:sp>
    <dsp:sp modelId="{E623EB72-04EC-43E8-91D2-77CD168D17C2}">
      <dsp:nvSpPr>
        <dsp:cNvPr id="0" name=""/>
        <dsp:cNvSpPr/>
      </dsp:nvSpPr>
      <dsp:spPr>
        <a:xfrm>
          <a:off x="7308342" y="772240"/>
          <a:ext cx="3203971" cy="50727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1" kern="1200" dirty="0"/>
            <a:t>Turn around times – KPIs and meeting them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Demand planning and activation of responses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1" kern="1200" dirty="0"/>
            <a:t>Patient queries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Changes in science 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b="1" kern="1200" dirty="0"/>
            <a:t>Provision of information to decision makers and public in a timely manner  </a:t>
          </a:r>
        </a:p>
      </dsp:txBody>
      <dsp:txXfrm>
        <a:off x="7308342" y="772240"/>
        <a:ext cx="3203971" cy="50727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926229-3F16-4692-9ABC-7FA2F0CBE312}" type="datetimeFigureOut">
              <a:rPr lang="en-IE" smtClean="0"/>
              <a:t>03/02/2021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8D1E61-069C-4F26-934A-EE88F5F653B7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24816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prstClr val="black"/>
                </a:solidFill>
              </a:rPr>
              <a:t>HSE Slide Templates</a:t>
            </a:r>
          </a:p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027C63-A927-B647-8AFD-696B33AF9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1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626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prstClr val="black"/>
                </a:solidFill>
              </a:rPr>
              <a:t>HSE Slide Templates</a:t>
            </a:r>
          </a:p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027C63-A927-B647-8AFD-696B33AF9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1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6893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027C63-A927-B647-8AFD-696B33AF9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1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45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prstClr val="black"/>
                </a:solidFill>
              </a:rPr>
              <a:t>HSE Slide Templates</a:t>
            </a:r>
          </a:p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027C63-A927-B647-8AFD-696B33AF9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1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5733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027C63-A927-B647-8AFD-696B33AF9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1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21096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prstClr val="black"/>
                </a:solidFill>
              </a:rPr>
              <a:t>HSE Slide Templates</a:t>
            </a:r>
          </a:p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027C63-A927-B647-8AFD-696B33AF9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1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4104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522000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860338" y="6020741"/>
            <a:ext cx="2471325" cy="84666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641" y="1"/>
            <a:ext cx="1296812" cy="1273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836"/>
          <a:stretch/>
        </p:blipFill>
        <p:spPr>
          <a:xfrm>
            <a:off x="9611638" y="120937"/>
            <a:ext cx="2580361" cy="73600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770482" y="3121026"/>
            <a:ext cx="6650567" cy="615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 </a:t>
            </a: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5628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857251" y="1145059"/>
            <a:ext cx="10515600" cy="4734037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 lang="en-US" dirty="0" smtClean="0">
                <a:latin typeface="Arial" panose="020B0604020202020204" pitchFamily="34" charset="0"/>
              </a:defRPr>
            </a:lvl1pPr>
            <a:lvl2pPr>
              <a:defRPr lang="en-US" dirty="0" smtClean="0">
                <a:latin typeface="Arial" panose="020B0604020202020204" pitchFamily="34" charset="0"/>
              </a:defRPr>
            </a:lvl2pPr>
            <a:lvl3pPr>
              <a:defRPr lang="en-US" dirty="0" smtClean="0">
                <a:latin typeface="Arial" panose="020B0604020202020204" pitchFamily="34" charset="0"/>
              </a:defRPr>
            </a:lvl3pPr>
            <a:lvl4pPr>
              <a:defRPr lang="en-US" dirty="0" smtClean="0">
                <a:latin typeface="Arial" panose="020B0604020202020204" pitchFamily="34" charset="0"/>
              </a:defRPr>
            </a:lvl4pPr>
            <a:lvl5pPr>
              <a:defRPr lang="en-US" dirty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-2584" y="6260346"/>
            <a:ext cx="12194583" cy="597655"/>
            <a:chOff x="0" y="4747613"/>
            <a:chExt cx="9144000" cy="402942"/>
          </a:xfrm>
          <a:solidFill>
            <a:srgbClr val="71A59C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0" y="4747613"/>
              <a:ext cx="9144000" cy="402942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rgbClr val="699887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59036" y="4791310"/>
              <a:ext cx="1625928" cy="315547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523286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1127" y="1701835"/>
            <a:ext cx="5384819" cy="4450552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47" name="Text Placeholder 2"/>
          <p:cNvSpPr>
            <a:spLocks noGrp="1"/>
          </p:cNvSpPr>
          <p:nvPr>
            <p:ph type="body" idx="19"/>
          </p:nvPr>
        </p:nvSpPr>
        <p:spPr>
          <a:xfrm>
            <a:off x="347133" y="2640854"/>
            <a:ext cx="5935133" cy="3429324"/>
          </a:xfrm>
          <a:prstGeom prst="rect">
            <a:avLst/>
          </a:prstGeom>
          <a:ln>
            <a:noFill/>
          </a:ln>
        </p:spPr>
        <p:txBody>
          <a:bodyPr lIns="68580" tIns="34290" rIns="68580" bIns="34290">
            <a:normAutofit/>
          </a:bodyPr>
          <a:lstStyle>
            <a:lvl1pPr marL="285744" indent="-285744" algn="just">
              <a:buFont typeface="Arial" panose="020B0604020202020204" pitchFamily="34" charset="0"/>
              <a:buChar char="•"/>
              <a:defRPr sz="1867">
                <a:solidFill>
                  <a:srgbClr val="47464B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347133" y="1701835"/>
            <a:ext cx="5935133" cy="66692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</p:spPr>
        <p:txBody>
          <a:bodyPr vert="horz" wrap="square" lIns="68580" tIns="34290" rIns="68580" bIns="34290" rtlCol="0" anchor="ctr">
            <a:noAutofit/>
          </a:bodyPr>
          <a:lstStyle>
            <a:lvl1pPr marL="228594" indent="-228594" algn="ctr">
              <a:buNone/>
              <a:defRPr lang="en-US" sz="24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/>
            <a:r>
              <a:rPr lang="en-US"/>
              <a:t>Insert title here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23" hasCustomPrompt="1"/>
          </p:nvPr>
        </p:nvSpPr>
        <p:spPr>
          <a:xfrm>
            <a:off x="6763857" y="1879600"/>
            <a:ext cx="5153620" cy="29083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667"/>
            </a:lvl1pPr>
          </a:lstStyle>
          <a:p>
            <a:r>
              <a:rPr lang="en-IE"/>
              <a:t>Insert a screenshot from your PC</a:t>
            </a:r>
          </a:p>
        </p:txBody>
      </p:sp>
    </p:spTree>
    <p:extLst>
      <p:ext uri="{BB962C8B-B14F-4D97-AF65-F5344CB8AC3E}">
        <p14:creationId xmlns:p14="http://schemas.microsoft.com/office/powerpoint/2010/main" val="13265285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4069" y="270212"/>
            <a:ext cx="3520340" cy="6059939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23" hasCustomPrompt="1"/>
          </p:nvPr>
        </p:nvSpPr>
        <p:spPr>
          <a:xfrm>
            <a:off x="7790399" y="1190217"/>
            <a:ext cx="2478616" cy="43984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667"/>
            </a:lvl1pPr>
          </a:lstStyle>
          <a:p>
            <a:r>
              <a:rPr lang="en-IE"/>
              <a:t>Insert smartphone screensho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9"/>
          </p:nvPr>
        </p:nvSpPr>
        <p:spPr>
          <a:xfrm>
            <a:off x="347133" y="2640854"/>
            <a:ext cx="5935133" cy="3429324"/>
          </a:xfrm>
          <a:prstGeom prst="rect">
            <a:avLst/>
          </a:prstGeom>
          <a:ln>
            <a:noFill/>
          </a:ln>
        </p:spPr>
        <p:txBody>
          <a:bodyPr lIns="68580" tIns="34290" rIns="68580" bIns="34290">
            <a:normAutofit/>
          </a:bodyPr>
          <a:lstStyle>
            <a:lvl1pPr marL="285744" indent="-285744" algn="just">
              <a:buFont typeface="Arial" panose="020B0604020202020204" pitchFamily="34" charset="0"/>
              <a:buChar char="•"/>
              <a:defRPr sz="1867">
                <a:solidFill>
                  <a:srgbClr val="47464B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347133" y="1701835"/>
            <a:ext cx="5935133" cy="666924"/>
          </a:xfrm>
          <a:prstGeom prst="rect">
            <a:avLst/>
          </a:prstGeom>
          <a:solidFill>
            <a:srgbClr val="699887"/>
          </a:solidFill>
          <a:ln w="6350">
            <a:solidFill>
              <a:schemeClr val="tx1"/>
            </a:solidFill>
          </a:ln>
        </p:spPr>
        <p:txBody>
          <a:bodyPr vert="horz" wrap="square" lIns="68580" tIns="34290" rIns="68580" bIns="34290" rtlCol="0" anchor="ctr">
            <a:noAutofit/>
          </a:bodyPr>
          <a:lstStyle>
            <a:lvl1pPr marL="228594" indent="-228594" algn="ctr">
              <a:buNone/>
              <a:defRPr lang="en-US" sz="24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/>
            <a:r>
              <a:rPr lang="en-US"/>
              <a:t>Insert title here</a:t>
            </a:r>
          </a:p>
        </p:txBody>
      </p:sp>
    </p:spTree>
    <p:extLst>
      <p:ext uri="{BB962C8B-B14F-4D97-AF65-F5344CB8AC3E}">
        <p14:creationId xmlns:p14="http://schemas.microsoft.com/office/powerpoint/2010/main" val="3584086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phone/Moni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4000" y="1592036"/>
            <a:ext cx="5496984" cy="4400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25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  <p:sp>
        <p:nvSpPr>
          <p:cNvPr id="18" name="Text Placeholder 2"/>
          <p:cNvSpPr>
            <a:spLocks noGrp="1"/>
          </p:cNvSpPr>
          <p:nvPr>
            <p:ph type="body" idx="19"/>
          </p:nvPr>
        </p:nvSpPr>
        <p:spPr>
          <a:xfrm>
            <a:off x="347133" y="2640854"/>
            <a:ext cx="5935133" cy="3429324"/>
          </a:xfrm>
          <a:prstGeom prst="rect">
            <a:avLst/>
          </a:prstGeom>
          <a:ln>
            <a:noFill/>
          </a:ln>
        </p:spPr>
        <p:txBody>
          <a:bodyPr lIns="68580" tIns="34290" rIns="68580" bIns="34290">
            <a:normAutofit/>
          </a:bodyPr>
          <a:lstStyle>
            <a:lvl1pPr marL="285744" indent="-285744" algn="just">
              <a:buFont typeface="Arial" panose="020B0604020202020204" pitchFamily="34" charset="0"/>
              <a:buChar char="•"/>
              <a:defRPr sz="1867">
                <a:solidFill>
                  <a:srgbClr val="47464B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4" hasCustomPrompt="1"/>
          </p:nvPr>
        </p:nvSpPr>
        <p:spPr>
          <a:xfrm>
            <a:off x="6898640" y="1879600"/>
            <a:ext cx="4878493" cy="2768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2667"/>
            </a:lvl1pPr>
          </a:lstStyle>
          <a:p>
            <a:r>
              <a:rPr lang="en-IE"/>
              <a:t>Insert a screenshot from your PC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347133" y="1701835"/>
            <a:ext cx="5935133" cy="66692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</p:spPr>
        <p:txBody>
          <a:bodyPr vert="horz" wrap="square" lIns="68580" tIns="34290" rIns="68580" bIns="34290" rtlCol="0" anchor="ctr">
            <a:noAutofit/>
          </a:bodyPr>
          <a:lstStyle>
            <a:lvl1pPr marL="228594" indent="-228594" algn="ctr">
              <a:buNone/>
              <a:defRPr lang="en-US" sz="2400" b="1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/>
            <a:r>
              <a:rPr lang="en-US"/>
              <a:t>Insert title here</a:t>
            </a:r>
          </a:p>
        </p:txBody>
      </p:sp>
    </p:spTree>
    <p:extLst>
      <p:ext uri="{BB962C8B-B14F-4D97-AF65-F5344CB8AC3E}">
        <p14:creationId xmlns:p14="http://schemas.microsoft.com/office/powerpoint/2010/main" val="27832442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5111" y="1752698"/>
            <a:ext cx="6621780" cy="4076601"/>
          </a:xfrm>
          <a:prstGeom prst="rect">
            <a:avLst/>
          </a:prstGeom>
        </p:spPr>
      </p:pic>
      <p:sp>
        <p:nvSpPr>
          <p:cNvPr id="8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200400" y="2165983"/>
            <a:ext cx="5791200" cy="32289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49694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ha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850218" y="2387601"/>
            <a:ext cx="4349749" cy="32723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IE"/>
          </a:p>
        </p:txBody>
      </p:sp>
      <p:sp>
        <p:nvSpPr>
          <p:cNvPr id="35" name="Rectangle 34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782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Slid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838201" y="1398028"/>
            <a:ext cx="10515600" cy="4734037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 lang="en-US" sz="2667" dirty="0" smtClean="0">
                <a:latin typeface="Arial" panose="020B0604020202020204" pitchFamily="34" charset="0"/>
              </a:defRPr>
            </a:lvl1pPr>
            <a:lvl2pPr>
              <a:defRPr lang="en-US" sz="2667" dirty="0" smtClean="0">
                <a:latin typeface="Arial" panose="020B0604020202020204" pitchFamily="34" charset="0"/>
              </a:defRPr>
            </a:lvl2pPr>
            <a:lvl3pPr>
              <a:defRPr lang="en-US" sz="2667" dirty="0" smtClean="0">
                <a:latin typeface="Arial" panose="020B0604020202020204" pitchFamily="34" charset="0"/>
              </a:defRPr>
            </a:lvl3pPr>
            <a:lvl4pPr>
              <a:defRPr lang="en-US" sz="2667" dirty="0" smtClean="0">
                <a:latin typeface="Arial" panose="020B0604020202020204" pitchFamily="34" charset="0"/>
              </a:defRPr>
            </a:lvl4pPr>
            <a:lvl5pPr>
              <a:defRPr lang="en-US" sz="2667" dirty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0008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pos="557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 Sl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30151"/>
            <a:ext cx="12192000" cy="52784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536" r="21722" b="29594"/>
          <a:stretch/>
        </p:blipFill>
        <p:spPr>
          <a:xfrm>
            <a:off x="48064" y="6371353"/>
            <a:ext cx="611424" cy="445443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838201" y="1398028"/>
            <a:ext cx="10515600" cy="4734037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 lang="en-US" sz="2667" dirty="0" smtClean="0">
                <a:latin typeface="Arial" panose="020B0604020202020204" pitchFamily="34" charset="0"/>
              </a:defRPr>
            </a:lvl1pPr>
            <a:lvl2pPr>
              <a:defRPr lang="en-US" sz="2667" dirty="0" smtClean="0">
                <a:latin typeface="Arial" panose="020B0604020202020204" pitchFamily="34" charset="0"/>
              </a:defRPr>
            </a:lvl2pPr>
            <a:lvl3pPr>
              <a:defRPr lang="en-US" sz="2667" dirty="0" smtClean="0">
                <a:latin typeface="Arial" panose="020B0604020202020204" pitchFamily="34" charset="0"/>
              </a:defRPr>
            </a:lvl3pPr>
            <a:lvl4pPr>
              <a:defRPr lang="en-US" sz="2667" dirty="0" smtClean="0">
                <a:latin typeface="Arial" panose="020B0604020202020204" pitchFamily="34" charset="0"/>
              </a:defRPr>
            </a:lvl4pPr>
            <a:lvl5pPr>
              <a:defRPr lang="en-US" sz="2667" dirty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49831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Image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0"/>
          <p:cNvSpPr>
            <a:spLocks noGrp="1" noChangeAspect="1"/>
          </p:cNvSpPr>
          <p:nvPr>
            <p:ph type="pic" sz="quarter" idx="14"/>
          </p:nvPr>
        </p:nvSpPr>
        <p:spPr>
          <a:xfrm>
            <a:off x="354777" y="1769315"/>
            <a:ext cx="2600055" cy="4130576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vert="horz" lIns="68580" tIns="34290" rIns="68580" bIns="34290" rtlCol="0">
            <a:normAutofit/>
          </a:bodyPr>
          <a:lstStyle>
            <a:lvl1pPr>
              <a:defRPr lang="en-US" sz="2000"/>
            </a:lvl1pPr>
          </a:lstStyle>
          <a:p>
            <a:pPr lvl="0"/>
            <a:endParaRPr lang="en-US"/>
          </a:p>
        </p:txBody>
      </p:sp>
      <p:sp>
        <p:nvSpPr>
          <p:cNvPr id="21" name="Picture Placeholder 10"/>
          <p:cNvSpPr>
            <a:spLocks noGrp="1" noChangeAspect="1"/>
          </p:cNvSpPr>
          <p:nvPr>
            <p:ph type="pic" sz="quarter" idx="16"/>
          </p:nvPr>
        </p:nvSpPr>
        <p:spPr>
          <a:xfrm>
            <a:off x="6278480" y="1769316"/>
            <a:ext cx="2600055" cy="1957811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vert="horz" lIns="68580" tIns="34290" rIns="68580" bIns="34290" rtlCol="0">
            <a:normAutofit/>
          </a:bodyPr>
          <a:lstStyle>
            <a:lvl1pPr>
              <a:defRPr lang="en-US" sz="2000"/>
            </a:lvl1pPr>
          </a:lstStyle>
          <a:p>
            <a:pPr lvl="0"/>
            <a:endParaRPr lang="en-US"/>
          </a:p>
        </p:txBody>
      </p:sp>
      <p:sp>
        <p:nvSpPr>
          <p:cNvPr id="36" name="Picture Placeholder 10"/>
          <p:cNvSpPr>
            <a:spLocks noGrp="1" noChangeAspect="1"/>
          </p:cNvSpPr>
          <p:nvPr>
            <p:ph type="pic" sz="quarter" idx="17"/>
          </p:nvPr>
        </p:nvSpPr>
        <p:spPr>
          <a:xfrm>
            <a:off x="6278480" y="3942080"/>
            <a:ext cx="2600055" cy="1957811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vert="horz" lIns="68580" tIns="34290" rIns="68580" bIns="34290" rtlCol="0">
            <a:normAutofit/>
          </a:bodyPr>
          <a:lstStyle>
            <a:lvl1pPr>
              <a:defRPr lang="en-US" sz="2000"/>
            </a:lvl1pPr>
          </a:lstStyle>
          <a:p>
            <a:pPr lvl="0"/>
            <a:endParaRPr lang="en-US"/>
          </a:p>
        </p:txBody>
      </p:sp>
      <p:sp>
        <p:nvSpPr>
          <p:cNvPr id="39" name="Rectangle 38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30151"/>
            <a:ext cx="12192000" cy="527848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536" r="21722" b="29594"/>
          <a:stretch/>
        </p:blipFill>
        <p:spPr>
          <a:xfrm>
            <a:off x="48064" y="6371353"/>
            <a:ext cx="611424" cy="445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251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30151"/>
            <a:ext cx="12192000" cy="52784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536" r="21722" b="29594"/>
          <a:stretch/>
        </p:blipFill>
        <p:spPr>
          <a:xfrm>
            <a:off x="48064" y="6371353"/>
            <a:ext cx="611424" cy="445443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605313" y="3096113"/>
            <a:ext cx="1103187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67" b="1" i="1">
                <a:solidFill>
                  <a:schemeClr val="bg1"/>
                </a:solidFill>
                <a:latin typeface="Arial" panose="020B0604020202020204" pitchFamily="34" charset="0"/>
              </a:rPr>
              <a:t>Sample imag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0"/>
          </p:nvPr>
        </p:nvSpPr>
        <p:spPr>
          <a:xfrm>
            <a:off x="6096001" y="1"/>
            <a:ext cx="6096000" cy="60261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IE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353777" y="2458691"/>
            <a:ext cx="5194300" cy="1562100"/>
          </a:xfrm>
          <a:prstGeom prst="rect">
            <a:avLst/>
          </a:prstGeom>
        </p:spPr>
        <p:txBody>
          <a:bodyPr/>
          <a:lstStyle>
            <a:lvl1pPr marL="0" marR="0" indent="0" algn="l" defTabSz="60945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33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2133" b="1" i="1">
                <a:solidFill>
                  <a:srgbClr val="9D1635"/>
                </a:solidFill>
                <a:latin typeface="Arial" panose="020B0604020202020204" pitchFamily="34" charset="0"/>
              </a:rPr>
              <a:t>Quote sample </a:t>
            </a:r>
            <a:r>
              <a:rPr lang="en-US" sz="2133" i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Lorem ipsum dolor sit amet, consectetuer adipiscing elit, sed diam nonummy nibh euismod tincidunt ut laoreet dolore magna aliquam erat pat. </a:t>
            </a:r>
          </a:p>
          <a:p>
            <a:pPr lvl="0"/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68091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838201" y="1398028"/>
            <a:ext cx="10515600" cy="4734037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 lang="en-US" sz="2667" dirty="0" smtClean="0">
                <a:latin typeface="Arial" panose="020B0604020202020204" pitchFamily="34" charset="0"/>
              </a:defRPr>
            </a:lvl1pPr>
            <a:lvl2pPr>
              <a:defRPr lang="en-US" sz="2667" dirty="0" smtClean="0">
                <a:latin typeface="Arial" panose="020B0604020202020204" pitchFamily="34" charset="0"/>
              </a:defRPr>
            </a:lvl2pPr>
            <a:lvl3pPr>
              <a:defRPr lang="en-US" sz="2667" dirty="0" smtClean="0">
                <a:latin typeface="Arial" panose="020B0604020202020204" pitchFamily="34" charset="0"/>
              </a:defRPr>
            </a:lvl3pPr>
            <a:lvl4pPr>
              <a:defRPr lang="en-US" sz="2667" dirty="0" smtClean="0">
                <a:latin typeface="Arial" panose="020B0604020202020204" pitchFamily="34" charset="0"/>
              </a:defRPr>
            </a:lvl4pPr>
            <a:lvl5pPr>
              <a:defRPr lang="en-US" sz="2667" dirty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97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+Image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838201" y="1398028"/>
            <a:ext cx="10515600" cy="4734037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>
              <a:defRPr lang="en-US" sz="2667" dirty="0" smtClean="0">
                <a:latin typeface="Arial" panose="020B0604020202020204" pitchFamily="34" charset="0"/>
              </a:defRPr>
            </a:lvl1pPr>
            <a:lvl2pPr>
              <a:defRPr lang="en-US" sz="2667" dirty="0" smtClean="0">
                <a:latin typeface="Arial" panose="020B0604020202020204" pitchFamily="34" charset="0"/>
              </a:defRPr>
            </a:lvl2pPr>
            <a:lvl3pPr>
              <a:defRPr lang="en-US" sz="2667" dirty="0" smtClean="0">
                <a:latin typeface="Arial" panose="020B0604020202020204" pitchFamily="34" charset="0"/>
              </a:defRPr>
            </a:lvl3pPr>
            <a:lvl4pPr>
              <a:defRPr lang="en-US" sz="2667" dirty="0" smtClean="0">
                <a:latin typeface="Arial" panose="020B0604020202020204" pitchFamily="34" charset="0"/>
              </a:defRPr>
            </a:lvl4pPr>
            <a:lvl5pPr>
              <a:defRPr lang="en-US" sz="2667" dirty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9594615" y="0"/>
            <a:ext cx="2597384" cy="1955800"/>
          </a:xfrm>
          <a:prstGeom prst="rect">
            <a:avLst/>
          </a:prstGeom>
          <a:solidFill>
            <a:srgbClr val="006858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12" name="Picture Placeholder 10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9595106" y="-9731"/>
            <a:ext cx="2600055" cy="195781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80" tIns="34290" rIns="68580" bIns="34290"/>
          <a:lstStyle>
            <a:lvl1pPr marL="0" indent="0">
              <a:buNone/>
              <a:defRPr sz="2667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16574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0" hasCustomPrompt="1"/>
          </p:nvPr>
        </p:nvSpPr>
        <p:spPr>
          <a:xfrm>
            <a:off x="170247" y="782857"/>
            <a:ext cx="4867879" cy="615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3200" b="1" kern="1200" dirty="0" smtClean="0">
                <a:solidFill>
                  <a:srgbClr val="00594D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09453" indent="0">
              <a:buNone/>
              <a:defRPr/>
            </a:lvl2pPr>
            <a:lvl3pPr marL="1218906" indent="0">
              <a:buNone/>
              <a:defRPr/>
            </a:lvl3pPr>
            <a:lvl4pPr marL="1828358" indent="0">
              <a:buNone/>
              <a:defRPr/>
            </a:lvl4pPr>
            <a:lvl5pPr marL="2437811" indent="0">
              <a:buNone/>
              <a:defRPr/>
            </a:lvl5pPr>
          </a:lstStyle>
          <a:p>
            <a:r>
              <a:rPr lang="en-US" sz="3200" b="1">
                <a:solidFill>
                  <a:srgbClr val="00594D"/>
                </a:solidFill>
              </a:rPr>
              <a:t>Page Title </a:t>
            </a:r>
            <a:r>
              <a:rPr lang="en-US" sz="3200" b="1" err="1">
                <a:solidFill>
                  <a:srgbClr val="00594D"/>
                </a:solidFill>
              </a:rPr>
              <a:t>Lorem</a:t>
            </a:r>
            <a:r>
              <a:rPr lang="en-US" sz="3200" b="1">
                <a:solidFill>
                  <a:srgbClr val="00594D"/>
                </a:solidFill>
              </a:rPr>
              <a:t> </a:t>
            </a:r>
            <a:r>
              <a:rPr lang="en-US" sz="3200" b="1" err="1">
                <a:solidFill>
                  <a:srgbClr val="00594D"/>
                </a:solidFill>
              </a:rPr>
              <a:t>Ipsum</a:t>
            </a:r>
            <a:endParaRPr lang="en-US" sz="3200" b="1">
              <a:solidFill>
                <a:srgbClr val="00594D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4344385" y="4251595"/>
            <a:ext cx="591575" cy="0"/>
          </a:xfrm>
          <a:prstGeom prst="line">
            <a:avLst/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Oval 12"/>
          <p:cNvSpPr/>
          <p:nvPr userDrawn="1"/>
        </p:nvSpPr>
        <p:spPr>
          <a:xfrm flipV="1">
            <a:off x="3993244" y="2441458"/>
            <a:ext cx="1293853" cy="1293853"/>
          </a:xfrm>
          <a:prstGeom prst="ellipse">
            <a:avLst/>
          </a:prstGeom>
          <a:solidFill>
            <a:srgbClr val="00594D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00594D"/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40234" y="1576458"/>
            <a:ext cx="569387" cy="27699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</a:rPr>
              <a:t>ICON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198737" y="4251595"/>
            <a:ext cx="591575" cy="0"/>
          </a:xfrm>
          <a:prstGeom prst="line">
            <a:avLst/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Oval 17"/>
          <p:cNvSpPr/>
          <p:nvPr userDrawn="1"/>
        </p:nvSpPr>
        <p:spPr>
          <a:xfrm rot="10800000" flipV="1">
            <a:off x="6847596" y="2441458"/>
            <a:ext cx="1293853" cy="1293853"/>
          </a:xfrm>
          <a:prstGeom prst="ellipse">
            <a:avLst/>
          </a:prstGeom>
          <a:solidFill>
            <a:srgbClr val="699887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10212819" y="4251595"/>
            <a:ext cx="591575" cy="0"/>
          </a:xfrm>
          <a:prstGeom prst="line">
            <a:avLst/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 userDrawn="1"/>
        </p:nvSpPr>
        <p:spPr>
          <a:xfrm rot="10800000" flipV="1">
            <a:off x="9861679" y="2441458"/>
            <a:ext cx="1293853" cy="1293853"/>
          </a:xfrm>
          <a:prstGeom prst="ellipse">
            <a:avLst/>
          </a:prstGeom>
          <a:solidFill>
            <a:srgbClr val="9D1635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197547" y="1398028"/>
            <a:ext cx="3683000" cy="332317"/>
          </a:xfrm>
          <a:prstGeom prst="rect">
            <a:avLst/>
          </a:prstGeom>
        </p:spPr>
        <p:txBody>
          <a:bodyPr/>
          <a:lstStyle>
            <a:lvl1pPr marL="0" marR="0" indent="0" algn="l" defTabSz="60945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IE" sz="1333" b="1" kern="1200" dirty="0">
                <a:solidFill>
                  <a:srgbClr val="699887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333" b="1">
                <a:solidFill>
                  <a:srgbClr val="699887"/>
                </a:solidFill>
              </a:rPr>
              <a:t>Subtitle </a:t>
            </a:r>
            <a:r>
              <a:rPr lang="en-US" sz="1333" b="1" err="1">
                <a:solidFill>
                  <a:srgbClr val="699887"/>
                </a:solidFill>
              </a:rPr>
              <a:t>Lorem</a:t>
            </a:r>
            <a:r>
              <a:rPr lang="en-US" sz="1333" b="1">
                <a:solidFill>
                  <a:srgbClr val="699887"/>
                </a:solidFill>
              </a:rPr>
              <a:t> </a:t>
            </a:r>
            <a:r>
              <a:rPr lang="en-US" sz="1333" b="1" err="1">
                <a:solidFill>
                  <a:srgbClr val="699887"/>
                </a:solidFill>
              </a:rPr>
              <a:t>Ipsum</a:t>
            </a:r>
            <a:r>
              <a:rPr lang="en-US" sz="1333" b="1">
                <a:solidFill>
                  <a:srgbClr val="699887"/>
                </a:solidFill>
              </a:rPr>
              <a:t> | 1 column + 3 icons</a:t>
            </a:r>
          </a:p>
          <a:p>
            <a:pPr lvl="0"/>
            <a:endParaRPr lang="en-IE"/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12"/>
          </p:nvPr>
        </p:nvSpPr>
        <p:spPr>
          <a:xfrm>
            <a:off x="197546" y="2265105"/>
            <a:ext cx="2853267" cy="30458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IE" sz="1333" kern="1200" dirty="0">
                <a:solidFill>
                  <a:srgbClr val="41414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>
              <a:lnSpc>
                <a:spcPct val="130000"/>
              </a:lnSpc>
            </a:pPr>
            <a:endParaRPr lang="en-US" sz="1333">
              <a:solidFill>
                <a:srgbClr val="414141"/>
              </a:solidFill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4324700" y="2948229"/>
            <a:ext cx="630941" cy="307776"/>
          </a:xfrm>
          <a:prstGeom prst="rect">
            <a:avLst/>
          </a:prstGeom>
        </p:spPr>
        <p:txBody>
          <a:bodyPr/>
          <a:lstStyle>
            <a:lvl1pPr marL="0" indent="0" algn="l" defTabSz="609453" rtl="0" eaLnBrk="1" latinLnBrk="0" hangingPunct="1">
              <a:buNone/>
              <a:defRPr lang="en-IE" sz="12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E"/>
              <a:t>ICON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4" hasCustomPrompt="1"/>
          </p:nvPr>
        </p:nvSpPr>
        <p:spPr>
          <a:xfrm>
            <a:off x="7178863" y="2948229"/>
            <a:ext cx="630941" cy="307776"/>
          </a:xfrm>
          <a:prstGeom prst="rect">
            <a:avLst/>
          </a:prstGeom>
        </p:spPr>
        <p:txBody>
          <a:bodyPr/>
          <a:lstStyle>
            <a:lvl1pPr marL="0" indent="0" algn="l" defTabSz="609453" rtl="0" eaLnBrk="1" latinLnBrk="0" hangingPunct="1">
              <a:buNone/>
              <a:defRPr lang="en-IE" sz="12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E"/>
              <a:t>ICON</a:t>
            </a: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15" hasCustomPrompt="1"/>
          </p:nvPr>
        </p:nvSpPr>
        <p:spPr>
          <a:xfrm>
            <a:off x="10193135" y="2948229"/>
            <a:ext cx="630941" cy="307776"/>
          </a:xfrm>
          <a:prstGeom prst="rect">
            <a:avLst/>
          </a:prstGeom>
        </p:spPr>
        <p:txBody>
          <a:bodyPr/>
          <a:lstStyle>
            <a:lvl1pPr marL="0" indent="0" algn="l" defTabSz="609453" rtl="0" eaLnBrk="1" latinLnBrk="0" hangingPunct="1">
              <a:buNone/>
              <a:defRPr lang="en-IE" sz="12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E"/>
              <a:t>ICON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6" hasCustomPrompt="1"/>
          </p:nvPr>
        </p:nvSpPr>
        <p:spPr>
          <a:xfrm>
            <a:off x="4360279" y="3836380"/>
            <a:ext cx="559784" cy="3069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IE"/>
              <a:t>Title</a:t>
            </a:r>
          </a:p>
        </p:txBody>
      </p:sp>
      <p:sp>
        <p:nvSpPr>
          <p:cNvPr id="45" name="Text Placeholder 43"/>
          <p:cNvSpPr>
            <a:spLocks noGrp="1"/>
          </p:cNvSpPr>
          <p:nvPr>
            <p:ph type="body" sz="quarter" idx="17" hasCustomPrompt="1"/>
          </p:nvPr>
        </p:nvSpPr>
        <p:spPr>
          <a:xfrm>
            <a:off x="7214631" y="3836380"/>
            <a:ext cx="559784" cy="3069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IE"/>
              <a:t>Title</a:t>
            </a:r>
          </a:p>
        </p:txBody>
      </p:sp>
      <p:sp>
        <p:nvSpPr>
          <p:cNvPr id="46" name="Text Placeholder 43"/>
          <p:cNvSpPr>
            <a:spLocks noGrp="1"/>
          </p:cNvSpPr>
          <p:nvPr>
            <p:ph type="body" sz="quarter" idx="18" hasCustomPrompt="1"/>
          </p:nvPr>
        </p:nvSpPr>
        <p:spPr>
          <a:xfrm>
            <a:off x="10212819" y="3836380"/>
            <a:ext cx="559784" cy="3069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IE"/>
              <a:t>Title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9"/>
          </p:nvPr>
        </p:nvSpPr>
        <p:spPr>
          <a:xfrm>
            <a:off x="3690845" y="4343671"/>
            <a:ext cx="1898651" cy="967317"/>
          </a:xfrm>
          <a:prstGeom prst="rect">
            <a:avLst/>
          </a:prstGeom>
        </p:spPr>
        <p:txBody>
          <a:bodyPr/>
          <a:lstStyle>
            <a:lvl1pPr marL="0" marR="0" indent="0" algn="l" defTabSz="60945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067" kern="1200" dirty="0" smtClean="0">
                <a:solidFill>
                  <a:srgbClr val="80818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algn="ctr">
              <a:lnSpc>
                <a:spcPct val="130000"/>
              </a:lnSpc>
            </a:pPr>
            <a:endParaRPr lang="en-US" sz="1067">
              <a:solidFill>
                <a:srgbClr val="808180"/>
              </a:solidFill>
            </a:endParaRPr>
          </a:p>
        </p:txBody>
      </p:sp>
      <p:sp>
        <p:nvSpPr>
          <p:cNvPr id="52" name="Text Placeholder 50"/>
          <p:cNvSpPr>
            <a:spLocks noGrp="1"/>
          </p:cNvSpPr>
          <p:nvPr>
            <p:ph type="body" sz="quarter" idx="20"/>
          </p:nvPr>
        </p:nvSpPr>
        <p:spPr>
          <a:xfrm>
            <a:off x="6628779" y="4343671"/>
            <a:ext cx="1898651" cy="967317"/>
          </a:xfrm>
          <a:prstGeom prst="rect">
            <a:avLst/>
          </a:prstGeom>
        </p:spPr>
        <p:txBody>
          <a:bodyPr/>
          <a:lstStyle>
            <a:lvl1pPr marL="0" marR="0" indent="0" algn="l" defTabSz="60945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067" kern="1200" dirty="0" smtClean="0">
                <a:solidFill>
                  <a:srgbClr val="80818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algn="ctr">
              <a:lnSpc>
                <a:spcPct val="130000"/>
              </a:lnSpc>
            </a:pPr>
            <a:endParaRPr lang="en-US" sz="1067">
              <a:solidFill>
                <a:srgbClr val="808180"/>
              </a:solidFill>
            </a:endParaRPr>
          </a:p>
        </p:txBody>
      </p:sp>
      <p:sp>
        <p:nvSpPr>
          <p:cNvPr id="53" name="Text Placeholder 50"/>
          <p:cNvSpPr>
            <a:spLocks noGrp="1"/>
          </p:cNvSpPr>
          <p:nvPr>
            <p:ph type="body" sz="quarter" idx="21"/>
          </p:nvPr>
        </p:nvSpPr>
        <p:spPr>
          <a:xfrm>
            <a:off x="9651379" y="4343671"/>
            <a:ext cx="1898651" cy="967317"/>
          </a:xfrm>
          <a:prstGeom prst="rect">
            <a:avLst/>
          </a:prstGeom>
        </p:spPr>
        <p:txBody>
          <a:bodyPr/>
          <a:lstStyle>
            <a:lvl1pPr marL="0" marR="0" indent="0" algn="l" defTabSz="60945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067" kern="1200" dirty="0" smtClean="0">
                <a:solidFill>
                  <a:srgbClr val="80818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algn="ctr">
              <a:lnSpc>
                <a:spcPct val="130000"/>
              </a:lnSpc>
            </a:pPr>
            <a:endParaRPr lang="en-US" sz="1067">
              <a:solidFill>
                <a:srgbClr val="8081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578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pos="557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ner Slid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1"/>
            <a:ext cx="12192000" cy="33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spcCol="0" rtlCol="0" anchor="ctr"/>
          <a:lstStyle/>
          <a:p>
            <a:pPr algn="ctr"/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330151"/>
            <a:ext cx="12192000" cy="537256"/>
          </a:xfrm>
          <a:prstGeom prst="rect">
            <a:avLst/>
          </a:prstGeom>
          <a:solidFill>
            <a:schemeClr val="accent2"/>
          </a:solidFill>
          <a:ln>
            <a:solidFill>
              <a:srgbClr val="69988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2048" y="6388414"/>
            <a:ext cx="2167904" cy="42072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313267" y="3718955"/>
            <a:ext cx="1822560" cy="358435"/>
          </a:xfrm>
          <a:prstGeom prst="rect">
            <a:avLst/>
          </a:prstGeom>
          <a:solidFill>
            <a:srgbClr val="0059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198948" y="3718955"/>
            <a:ext cx="1822560" cy="358435"/>
          </a:xfrm>
          <a:prstGeom prst="rect">
            <a:avLst/>
          </a:prstGeom>
          <a:solidFill>
            <a:srgbClr val="69988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074781" y="3718955"/>
            <a:ext cx="1822560" cy="358435"/>
          </a:xfrm>
          <a:prstGeom prst="rect">
            <a:avLst/>
          </a:prstGeom>
          <a:solidFill>
            <a:srgbClr val="9D163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5950528" y="3718955"/>
            <a:ext cx="1822560" cy="358435"/>
          </a:xfrm>
          <a:prstGeom prst="rect">
            <a:avLst/>
          </a:prstGeom>
          <a:solidFill>
            <a:srgbClr val="003C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7838208" y="3718955"/>
            <a:ext cx="1822560" cy="358435"/>
          </a:xfrm>
          <a:prstGeom prst="rect">
            <a:avLst/>
          </a:prstGeom>
          <a:solidFill>
            <a:srgbClr val="6DAB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9713963" y="3718955"/>
            <a:ext cx="1822560" cy="358435"/>
          </a:xfrm>
          <a:prstGeom prst="rect">
            <a:avLst/>
          </a:prstGeom>
          <a:solidFill>
            <a:srgbClr val="F7A8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699887"/>
              </a:solidFill>
              <a:latin typeface="Arial" panose="020B0604020202020204" pitchFamily="34" charset="0"/>
            </a:endParaRPr>
          </a:p>
        </p:txBody>
      </p:sp>
      <p:grpSp>
        <p:nvGrpSpPr>
          <p:cNvPr id="29" name="Group 28"/>
          <p:cNvGrpSpPr/>
          <p:nvPr userDrawn="1"/>
        </p:nvGrpSpPr>
        <p:grpSpPr>
          <a:xfrm>
            <a:off x="1176547" y="3038555"/>
            <a:ext cx="96000" cy="539901"/>
            <a:chOff x="880147" y="2384290"/>
            <a:chExt cx="72000" cy="404926"/>
          </a:xfrm>
        </p:grpSpPr>
        <p:cxnSp>
          <p:nvCxnSpPr>
            <p:cNvPr id="30" name="Straight Connector 29"/>
            <p:cNvCxnSpPr>
              <a:stCxn id="11" idx="0"/>
            </p:cNvCxnSpPr>
            <p:nvPr/>
          </p:nvCxnSpPr>
          <p:spPr>
            <a:xfrm flipV="1">
              <a:off x="916147" y="2384290"/>
              <a:ext cx="237" cy="404926"/>
            </a:xfrm>
            <a:prstGeom prst="line">
              <a:avLst/>
            </a:prstGeom>
            <a:ln w="9525" cmpd="sng">
              <a:solidFill>
                <a:schemeClr val="tx1">
                  <a:lumMod val="50000"/>
                  <a:lumOff val="50000"/>
                </a:schemeClr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/>
            <p:cNvSpPr/>
            <p:nvPr/>
          </p:nvSpPr>
          <p:spPr>
            <a:xfrm>
              <a:off x="880147" y="2468176"/>
              <a:ext cx="72000" cy="72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atin typeface="Arial" panose="020B0604020202020204" pitchFamily="34" charset="0"/>
              </a:endParaRPr>
            </a:p>
          </p:txBody>
        </p:sp>
      </p:grpSp>
      <p:grpSp>
        <p:nvGrpSpPr>
          <p:cNvPr id="32" name="Group 31"/>
          <p:cNvGrpSpPr/>
          <p:nvPr userDrawn="1"/>
        </p:nvGrpSpPr>
        <p:grpSpPr>
          <a:xfrm>
            <a:off x="4938061" y="3150403"/>
            <a:ext cx="96000" cy="568552"/>
            <a:chOff x="880147" y="2468176"/>
            <a:chExt cx="72000" cy="426414"/>
          </a:xfrm>
        </p:grpSpPr>
        <p:cxnSp>
          <p:nvCxnSpPr>
            <p:cNvPr id="33" name="Straight Connector 32"/>
            <p:cNvCxnSpPr/>
            <p:nvPr/>
          </p:nvCxnSpPr>
          <p:spPr>
            <a:xfrm flipV="1">
              <a:off x="916147" y="2489664"/>
              <a:ext cx="237" cy="404926"/>
            </a:xfrm>
            <a:prstGeom prst="line">
              <a:avLst/>
            </a:prstGeom>
            <a:ln w="9525" cmpd="sng">
              <a:solidFill>
                <a:schemeClr val="tx1">
                  <a:lumMod val="50000"/>
                  <a:lumOff val="50000"/>
                </a:schemeClr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/>
            <p:cNvSpPr/>
            <p:nvPr/>
          </p:nvSpPr>
          <p:spPr>
            <a:xfrm>
              <a:off x="880147" y="2468176"/>
              <a:ext cx="72000" cy="72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atin typeface="Arial" panose="020B0604020202020204" pitchFamily="34" charset="0"/>
              </a:endParaRPr>
            </a:p>
          </p:txBody>
        </p:sp>
      </p:grpSp>
      <p:grpSp>
        <p:nvGrpSpPr>
          <p:cNvPr id="35" name="Group 34"/>
          <p:cNvGrpSpPr/>
          <p:nvPr userDrawn="1"/>
        </p:nvGrpSpPr>
        <p:grpSpPr>
          <a:xfrm>
            <a:off x="8701488" y="3150403"/>
            <a:ext cx="96000" cy="568552"/>
            <a:chOff x="880147" y="2468176"/>
            <a:chExt cx="72000" cy="426414"/>
          </a:xfrm>
        </p:grpSpPr>
        <p:cxnSp>
          <p:nvCxnSpPr>
            <p:cNvPr id="36" name="Straight Connector 35"/>
            <p:cNvCxnSpPr/>
            <p:nvPr/>
          </p:nvCxnSpPr>
          <p:spPr>
            <a:xfrm flipV="1">
              <a:off x="916147" y="2489664"/>
              <a:ext cx="237" cy="404926"/>
            </a:xfrm>
            <a:prstGeom prst="line">
              <a:avLst/>
            </a:prstGeom>
            <a:ln w="9525" cmpd="sng">
              <a:solidFill>
                <a:schemeClr val="tx1">
                  <a:lumMod val="50000"/>
                  <a:lumOff val="50000"/>
                </a:schemeClr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/>
            <p:cNvSpPr/>
            <p:nvPr/>
          </p:nvSpPr>
          <p:spPr>
            <a:xfrm>
              <a:off x="880147" y="2468176"/>
              <a:ext cx="72000" cy="72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atin typeface="Arial" panose="020B0604020202020204" pitchFamily="34" charset="0"/>
              </a:endParaRPr>
            </a:p>
          </p:txBody>
        </p:sp>
      </p:grpSp>
      <p:grpSp>
        <p:nvGrpSpPr>
          <p:cNvPr id="38" name="Group 37"/>
          <p:cNvGrpSpPr/>
          <p:nvPr userDrawn="1"/>
        </p:nvGrpSpPr>
        <p:grpSpPr>
          <a:xfrm flipV="1">
            <a:off x="3090992" y="4077389"/>
            <a:ext cx="96000" cy="568552"/>
            <a:chOff x="880147" y="2468176"/>
            <a:chExt cx="72000" cy="426414"/>
          </a:xfrm>
        </p:grpSpPr>
        <p:cxnSp>
          <p:nvCxnSpPr>
            <p:cNvPr id="39" name="Straight Connector 38"/>
            <p:cNvCxnSpPr/>
            <p:nvPr/>
          </p:nvCxnSpPr>
          <p:spPr>
            <a:xfrm flipV="1">
              <a:off x="916147" y="2489664"/>
              <a:ext cx="237" cy="404926"/>
            </a:xfrm>
            <a:prstGeom prst="line">
              <a:avLst/>
            </a:prstGeom>
            <a:ln w="9525" cmpd="sng">
              <a:solidFill>
                <a:schemeClr val="tx1">
                  <a:lumMod val="50000"/>
                  <a:lumOff val="50000"/>
                </a:schemeClr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9"/>
            <p:cNvSpPr/>
            <p:nvPr/>
          </p:nvSpPr>
          <p:spPr>
            <a:xfrm>
              <a:off x="880147" y="2468176"/>
              <a:ext cx="72000" cy="72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atin typeface="Arial" panose="020B0604020202020204" pitchFamily="34" charset="0"/>
              </a:endParaRPr>
            </a:p>
          </p:txBody>
        </p:sp>
      </p:grpSp>
      <p:grpSp>
        <p:nvGrpSpPr>
          <p:cNvPr id="41" name="Group 40"/>
          <p:cNvGrpSpPr/>
          <p:nvPr userDrawn="1"/>
        </p:nvGrpSpPr>
        <p:grpSpPr>
          <a:xfrm flipV="1">
            <a:off x="6852507" y="4077389"/>
            <a:ext cx="96000" cy="568552"/>
            <a:chOff x="880147" y="2468176"/>
            <a:chExt cx="72000" cy="426414"/>
          </a:xfrm>
        </p:grpSpPr>
        <p:cxnSp>
          <p:nvCxnSpPr>
            <p:cNvPr id="42" name="Straight Connector 41"/>
            <p:cNvCxnSpPr/>
            <p:nvPr/>
          </p:nvCxnSpPr>
          <p:spPr>
            <a:xfrm flipV="1">
              <a:off x="916147" y="2489664"/>
              <a:ext cx="237" cy="404926"/>
            </a:xfrm>
            <a:prstGeom prst="line">
              <a:avLst/>
            </a:prstGeom>
            <a:ln w="9525" cmpd="sng">
              <a:solidFill>
                <a:schemeClr val="tx1">
                  <a:lumMod val="50000"/>
                  <a:lumOff val="50000"/>
                </a:schemeClr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Oval 42"/>
            <p:cNvSpPr/>
            <p:nvPr/>
          </p:nvSpPr>
          <p:spPr>
            <a:xfrm>
              <a:off x="880147" y="2468176"/>
              <a:ext cx="72000" cy="72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atin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 flipV="1">
            <a:off x="10615933" y="4077389"/>
            <a:ext cx="96000" cy="568552"/>
            <a:chOff x="880147" y="2468176"/>
            <a:chExt cx="72000" cy="426414"/>
          </a:xfrm>
        </p:grpSpPr>
        <p:cxnSp>
          <p:nvCxnSpPr>
            <p:cNvPr id="45" name="Straight Connector 44"/>
            <p:cNvCxnSpPr/>
            <p:nvPr/>
          </p:nvCxnSpPr>
          <p:spPr>
            <a:xfrm flipV="1">
              <a:off x="916147" y="2489664"/>
              <a:ext cx="237" cy="404926"/>
            </a:xfrm>
            <a:prstGeom prst="line">
              <a:avLst/>
            </a:prstGeom>
            <a:ln w="9525" cmpd="sng">
              <a:solidFill>
                <a:schemeClr val="tx1">
                  <a:lumMod val="50000"/>
                  <a:lumOff val="50000"/>
                </a:schemeClr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val 45"/>
            <p:cNvSpPr/>
            <p:nvPr/>
          </p:nvSpPr>
          <p:spPr>
            <a:xfrm>
              <a:off x="880147" y="2468176"/>
              <a:ext cx="72000" cy="72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atin typeface="Arial" panose="020B0604020202020204" pitchFamily="34" charset="0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594100" y="842582"/>
            <a:ext cx="5003800" cy="615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IE" sz="3200" b="1" kern="1200" dirty="0">
                <a:solidFill>
                  <a:srgbClr val="00594D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E"/>
              <a:t>Page Title </a:t>
            </a:r>
            <a:r>
              <a:rPr lang="en-IE" err="1"/>
              <a:t>Lorem</a:t>
            </a:r>
            <a:r>
              <a:rPr lang="en-IE"/>
              <a:t> </a:t>
            </a:r>
            <a:r>
              <a:rPr lang="en-IE" err="1"/>
              <a:t>Ipsum</a:t>
            </a:r>
            <a:endParaRPr lang="en-IE"/>
          </a:p>
        </p:txBody>
      </p:sp>
      <p:sp>
        <p:nvSpPr>
          <p:cNvPr id="49" name="Text Placeholder 48"/>
          <p:cNvSpPr>
            <a:spLocks noGrp="1"/>
          </p:cNvSpPr>
          <p:nvPr>
            <p:ph type="body" sz="quarter" idx="25" hasCustomPrompt="1"/>
          </p:nvPr>
        </p:nvSpPr>
        <p:spPr>
          <a:xfrm>
            <a:off x="4681702" y="1401234"/>
            <a:ext cx="2828596" cy="3259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IE" sz="1333" b="1" kern="1200" dirty="0">
                <a:solidFill>
                  <a:srgbClr val="699887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IE"/>
              <a:t>Subtitle </a:t>
            </a:r>
            <a:r>
              <a:rPr lang="en-IE" err="1"/>
              <a:t>Lorem</a:t>
            </a:r>
            <a:r>
              <a:rPr lang="en-IE"/>
              <a:t> </a:t>
            </a:r>
            <a:r>
              <a:rPr lang="en-IE" err="1"/>
              <a:t>ipsum</a:t>
            </a:r>
            <a:r>
              <a:rPr lang="en-IE"/>
              <a:t> | Timeline</a:t>
            </a:r>
          </a:p>
        </p:txBody>
      </p:sp>
      <p:sp>
        <p:nvSpPr>
          <p:cNvPr id="52" name="Text Placeholder 50"/>
          <p:cNvSpPr>
            <a:spLocks noGrp="1"/>
          </p:cNvSpPr>
          <p:nvPr>
            <p:ph type="body" sz="quarter" idx="27" hasCustomPrompt="1"/>
          </p:nvPr>
        </p:nvSpPr>
        <p:spPr>
          <a:xfrm>
            <a:off x="3918489" y="2053101"/>
            <a:ext cx="2298700" cy="944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>
                <a:latin typeface="Arial" panose="020B0604020202020204" pitchFamily="34" charset="0"/>
              </a:defRPr>
            </a:lvl1pPr>
          </a:lstStyle>
          <a:p>
            <a:r>
              <a:rPr lang="en-US" sz="1333">
                <a:solidFill>
                  <a:srgbClr val="414141"/>
                </a:solidFill>
              </a:rPr>
              <a:t>Title</a:t>
            </a:r>
          </a:p>
        </p:txBody>
      </p:sp>
      <p:sp>
        <p:nvSpPr>
          <p:cNvPr id="53" name="Text Placeholder 50"/>
          <p:cNvSpPr>
            <a:spLocks noGrp="1"/>
          </p:cNvSpPr>
          <p:nvPr>
            <p:ph type="body" sz="quarter" idx="28" hasCustomPrompt="1"/>
          </p:nvPr>
        </p:nvSpPr>
        <p:spPr>
          <a:xfrm>
            <a:off x="7552138" y="2069968"/>
            <a:ext cx="2298700" cy="944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>
                <a:latin typeface="Arial" panose="020B0604020202020204" pitchFamily="34" charset="0"/>
              </a:defRPr>
            </a:lvl1pPr>
          </a:lstStyle>
          <a:p>
            <a:r>
              <a:rPr lang="en-US" sz="1333" b="1">
                <a:solidFill>
                  <a:srgbClr val="414141"/>
                </a:solidFill>
              </a:rPr>
              <a:t>Title</a:t>
            </a:r>
          </a:p>
          <a:p>
            <a:r>
              <a:rPr lang="en-US" sz="1333" err="1">
                <a:solidFill>
                  <a:srgbClr val="414141"/>
                </a:solidFill>
              </a:rPr>
              <a:t>Lorem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ipsum</a:t>
            </a:r>
            <a:r>
              <a:rPr lang="en-US" sz="1333">
                <a:solidFill>
                  <a:srgbClr val="414141"/>
                </a:solidFill>
              </a:rPr>
              <a:t> dolor </a:t>
            </a:r>
            <a:r>
              <a:rPr lang="en-US" sz="1333" err="1">
                <a:solidFill>
                  <a:srgbClr val="414141"/>
                </a:solidFill>
              </a:rPr>
              <a:t>sitamet</a:t>
            </a:r>
            <a:r>
              <a:rPr lang="en-US" sz="1333">
                <a:solidFill>
                  <a:srgbClr val="414141"/>
                </a:solidFill>
              </a:rPr>
              <a:t>, </a:t>
            </a:r>
            <a:r>
              <a:rPr lang="en-US" sz="1333" err="1">
                <a:solidFill>
                  <a:srgbClr val="414141"/>
                </a:solidFill>
              </a:rPr>
              <a:t>consectetur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adipiscing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elit</a:t>
            </a:r>
            <a:r>
              <a:rPr lang="en-US" sz="1333">
                <a:solidFill>
                  <a:srgbClr val="414141"/>
                </a:solidFill>
              </a:rPr>
              <a:t>, </a:t>
            </a:r>
            <a:r>
              <a:rPr lang="en-US" sz="1333" err="1">
                <a:solidFill>
                  <a:srgbClr val="414141"/>
                </a:solidFill>
              </a:rPr>
              <a:t>sed</a:t>
            </a:r>
            <a:r>
              <a:rPr lang="en-US" sz="1333">
                <a:solidFill>
                  <a:srgbClr val="414141"/>
                </a:solidFill>
              </a:rPr>
              <a:t> do </a:t>
            </a:r>
            <a:r>
              <a:rPr lang="en-US" sz="1333" err="1">
                <a:solidFill>
                  <a:srgbClr val="414141"/>
                </a:solidFill>
              </a:rPr>
              <a:t>eiu</a:t>
            </a:r>
            <a:r>
              <a:rPr lang="en-US" sz="1333">
                <a:solidFill>
                  <a:srgbClr val="414141"/>
                </a:solidFill>
              </a:rPr>
              <a:t>.</a:t>
            </a:r>
          </a:p>
        </p:txBody>
      </p:sp>
      <p:sp>
        <p:nvSpPr>
          <p:cNvPr id="54" name="Text Placeholder 50"/>
          <p:cNvSpPr>
            <a:spLocks noGrp="1"/>
          </p:cNvSpPr>
          <p:nvPr>
            <p:ph type="body" sz="quarter" idx="29" hasCustomPrompt="1"/>
          </p:nvPr>
        </p:nvSpPr>
        <p:spPr>
          <a:xfrm>
            <a:off x="2049670" y="4732110"/>
            <a:ext cx="2298700" cy="944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>
                <a:latin typeface="Arial" panose="020B0604020202020204" pitchFamily="34" charset="0"/>
              </a:defRPr>
            </a:lvl1pPr>
          </a:lstStyle>
          <a:p>
            <a:r>
              <a:rPr lang="en-US" sz="1333" b="1">
                <a:solidFill>
                  <a:srgbClr val="414141"/>
                </a:solidFill>
              </a:rPr>
              <a:t>Title</a:t>
            </a:r>
          </a:p>
          <a:p>
            <a:r>
              <a:rPr lang="en-US" sz="1333" err="1">
                <a:solidFill>
                  <a:srgbClr val="414141"/>
                </a:solidFill>
              </a:rPr>
              <a:t>Lorem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ipsum</a:t>
            </a:r>
            <a:r>
              <a:rPr lang="en-US" sz="1333">
                <a:solidFill>
                  <a:srgbClr val="414141"/>
                </a:solidFill>
              </a:rPr>
              <a:t> dolor </a:t>
            </a:r>
            <a:r>
              <a:rPr lang="en-US" sz="1333" err="1">
                <a:solidFill>
                  <a:srgbClr val="414141"/>
                </a:solidFill>
              </a:rPr>
              <a:t>sitamet</a:t>
            </a:r>
            <a:r>
              <a:rPr lang="en-US" sz="1333">
                <a:solidFill>
                  <a:srgbClr val="414141"/>
                </a:solidFill>
              </a:rPr>
              <a:t>, </a:t>
            </a:r>
            <a:r>
              <a:rPr lang="en-US" sz="1333" err="1">
                <a:solidFill>
                  <a:srgbClr val="414141"/>
                </a:solidFill>
              </a:rPr>
              <a:t>consectetur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adipiscing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elit</a:t>
            </a:r>
            <a:r>
              <a:rPr lang="en-US" sz="1333">
                <a:solidFill>
                  <a:srgbClr val="414141"/>
                </a:solidFill>
              </a:rPr>
              <a:t>, </a:t>
            </a:r>
            <a:r>
              <a:rPr lang="en-US" sz="1333" err="1">
                <a:solidFill>
                  <a:srgbClr val="414141"/>
                </a:solidFill>
              </a:rPr>
              <a:t>sed</a:t>
            </a:r>
            <a:r>
              <a:rPr lang="en-US" sz="1333">
                <a:solidFill>
                  <a:srgbClr val="414141"/>
                </a:solidFill>
              </a:rPr>
              <a:t> do </a:t>
            </a:r>
            <a:r>
              <a:rPr lang="en-US" sz="1333" err="1">
                <a:solidFill>
                  <a:srgbClr val="414141"/>
                </a:solidFill>
              </a:rPr>
              <a:t>eiu</a:t>
            </a:r>
            <a:r>
              <a:rPr lang="en-US" sz="1333">
                <a:solidFill>
                  <a:srgbClr val="414141"/>
                </a:solidFill>
              </a:rPr>
              <a:t>.</a:t>
            </a:r>
          </a:p>
        </p:txBody>
      </p:sp>
      <p:sp>
        <p:nvSpPr>
          <p:cNvPr id="55" name="Text Placeholder 50"/>
          <p:cNvSpPr>
            <a:spLocks noGrp="1"/>
          </p:cNvSpPr>
          <p:nvPr>
            <p:ph type="body" sz="quarter" idx="30" hasCustomPrompt="1"/>
          </p:nvPr>
        </p:nvSpPr>
        <p:spPr>
          <a:xfrm>
            <a:off x="5831569" y="4732044"/>
            <a:ext cx="2298700" cy="944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>
                <a:latin typeface="Arial" panose="020B0604020202020204" pitchFamily="34" charset="0"/>
              </a:defRPr>
            </a:lvl1pPr>
          </a:lstStyle>
          <a:p>
            <a:r>
              <a:rPr lang="en-US" sz="1333" b="1">
                <a:solidFill>
                  <a:srgbClr val="414141"/>
                </a:solidFill>
              </a:rPr>
              <a:t>Title</a:t>
            </a:r>
          </a:p>
          <a:p>
            <a:r>
              <a:rPr lang="en-US" sz="1333" err="1">
                <a:solidFill>
                  <a:srgbClr val="414141"/>
                </a:solidFill>
              </a:rPr>
              <a:t>Lorem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ipsum</a:t>
            </a:r>
            <a:r>
              <a:rPr lang="en-US" sz="1333">
                <a:solidFill>
                  <a:srgbClr val="414141"/>
                </a:solidFill>
              </a:rPr>
              <a:t> dolor </a:t>
            </a:r>
            <a:r>
              <a:rPr lang="en-US" sz="1333" err="1">
                <a:solidFill>
                  <a:srgbClr val="414141"/>
                </a:solidFill>
              </a:rPr>
              <a:t>sitamet</a:t>
            </a:r>
            <a:r>
              <a:rPr lang="en-US" sz="1333">
                <a:solidFill>
                  <a:srgbClr val="414141"/>
                </a:solidFill>
              </a:rPr>
              <a:t>, </a:t>
            </a:r>
            <a:r>
              <a:rPr lang="en-US" sz="1333" err="1">
                <a:solidFill>
                  <a:srgbClr val="414141"/>
                </a:solidFill>
              </a:rPr>
              <a:t>consectetur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adipiscing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elit</a:t>
            </a:r>
            <a:r>
              <a:rPr lang="en-US" sz="1333">
                <a:solidFill>
                  <a:srgbClr val="414141"/>
                </a:solidFill>
              </a:rPr>
              <a:t>, </a:t>
            </a:r>
            <a:r>
              <a:rPr lang="en-US" sz="1333" err="1">
                <a:solidFill>
                  <a:srgbClr val="414141"/>
                </a:solidFill>
              </a:rPr>
              <a:t>sed</a:t>
            </a:r>
            <a:r>
              <a:rPr lang="en-US" sz="1333">
                <a:solidFill>
                  <a:srgbClr val="414141"/>
                </a:solidFill>
              </a:rPr>
              <a:t> do </a:t>
            </a:r>
            <a:r>
              <a:rPr lang="en-US" sz="1333" err="1">
                <a:solidFill>
                  <a:srgbClr val="414141"/>
                </a:solidFill>
              </a:rPr>
              <a:t>eiu</a:t>
            </a:r>
            <a:r>
              <a:rPr lang="en-US" sz="1333">
                <a:solidFill>
                  <a:srgbClr val="414141"/>
                </a:solidFill>
              </a:rPr>
              <a:t>.</a:t>
            </a:r>
          </a:p>
        </p:txBody>
      </p:sp>
      <p:sp>
        <p:nvSpPr>
          <p:cNvPr id="56" name="Text Placeholder 50"/>
          <p:cNvSpPr>
            <a:spLocks noGrp="1"/>
          </p:cNvSpPr>
          <p:nvPr>
            <p:ph type="body" sz="quarter" idx="31" hasCustomPrompt="1"/>
          </p:nvPr>
        </p:nvSpPr>
        <p:spPr>
          <a:xfrm>
            <a:off x="9562583" y="4731286"/>
            <a:ext cx="2298700" cy="944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>
                <a:latin typeface="Arial" panose="020B0604020202020204" pitchFamily="34" charset="0"/>
              </a:defRPr>
            </a:lvl1pPr>
          </a:lstStyle>
          <a:p>
            <a:r>
              <a:rPr lang="en-US" sz="1333" b="1">
                <a:solidFill>
                  <a:srgbClr val="414141"/>
                </a:solidFill>
              </a:rPr>
              <a:t>Title</a:t>
            </a:r>
          </a:p>
          <a:p>
            <a:r>
              <a:rPr lang="en-US" sz="1333" err="1">
                <a:solidFill>
                  <a:srgbClr val="414141"/>
                </a:solidFill>
              </a:rPr>
              <a:t>Lorem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ipsum</a:t>
            </a:r>
            <a:r>
              <a:rPr lang="en-US" sz="1333">
                <a:solidFill>
                  <a:srgbClr val="414141"/>
                </a:solidFill>
              </a:rPr>
              <a:t> dolor </a:t>
            </a:r>
            <a:r>
              <a:rPr lang="en-US" sz="1333" err="1">
                <a:solidFill>
                  <a:srgbClr val="414141"/>
                </a:solidFill>
              </a:rPr>
              <a:t>sitamet</a:t>
            </a:r>
            <a:r>
              <a:rPr lang="en-US" sz="1333">
                <a:solidFill>
                  <a:srgbClr val="414141"/>
                </a:solidFill>
              </a:rPr>
              <a:t>, </a:t>
            </a:r>
            <a:r>
              <a:rPr lang="en-US" sz="1333" err="1">
                <a:solidFill>
                  <a:srgbClr val="414141"/>
                </a:solidFill>
              </a:rPr>
              <a:t>consectetur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adipiscing</a:t>
            </a:r>
            <a:r>
              <a:rPr lang="en-US" sz="1333">
                <a:solidFill>
                  <a:srgbClr val="414141"/>
                </a:solidFill>
              </a:rPr>
              <a:t> </a:t>
            </a:r>
            <a:r>
              <a:rPr lang="en-US" sz="1333" err="1">
                <a:solidFill>
                  <a:srgbClr val="414141"/>
                </a:solidFill>
              </a:rPr>
              <a:t>elit</a:t>
            </a:r>
            <a:r>
              <a:rPr lang="en-US" sz="1333">
                <a:solidFill>
                  <a:srgbClr val="414141"/>
                </a:solidFill>
              </a:rPr>
              <a:t>, </a:t>
            </a:r>
            <a:r>
              <a:rPr lang="en-US" sz="1333" err="1">
                <a:solidFill>
                  <a:srgbClr val="414141"/>
                </a:solidFill>
              </a:rPr>
              <a:t>sed</a:t>
            </a:r>
            <a:r>
              <a:rPr lang="en-US" sz="1333">
                <a:solidFill>
                  <a:srgbClr val="414141"/>
                </a:solidFill>
              </a:rPr>
              <a:t> do </a:t>
            </a:r>
            <a:r>
              <a:rPr lang="en-US" sz="1333" err="1">
                <a:solidFill>
                  <a:srgbClr val="414141"/>
                </a:solidFill>
              </a:rPr>
              <a:t>eiu</a:t>
            </a:r>
            <a:r>
              <a:rPr lang="en-US" sz="1333">
                <a:solidFill>
                  <a:srgbClr val="414141"/>
                </a:solidFill>
              </a:rPr>
              <a:t>.</a:t>
            </a:r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32" hasCustomPrompt="1"/>
          </p:nvPr>
        </p:nvSpPr>
        <p:spPr>
          <a:xfrm>
            <a:off x="577851" y="3744304"/>
            <a:ext cx="1291167" cy="309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IE" sz="12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IE"/>
              <a:t>MONTH/YEAR</a:t>
            </a:r>
          </a:p>
        </p:txBody>
      </p:sp>
      <p:sp>
        <p:nvSpPr>
          <p:cNvPr id="59" name="Text Placeholder 57"/>
          <p:cNvSpPr>
            <a:spLocks noGrp="1"/>
          </p:cNvSpPr>
          <p:nvPr>
            <p:ph type="body" sz="quarter" idx="33" hasCustomPrompt="1"/>
          </p:nvPr>
        </p:nvSpPr>
        <p:spPr>
          <a:xfrm>
            <a:off x="2541409" y="3753925"/>
            <a:ext cx="1291167" cy="309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IE" sz="12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IE"/>
              <a:t>MONTH/YEAR</a:t>
            </a:r>
          </a:p>
        </p:txBody>
      </p:sp>
      <p:sp>
        <p:nvSpPr>
          <p:cNvPr id="60" name="Text Placeholder 57"/>
          <p:cNvSpPr>
            <a:spLocks noGrp="1"/>
          </p:cNvSpPr>
          <p:nvPr>
            <p:ph type="body" sz="quarter" idx="34" hasCustomPrompt="1"/>
          </p:nvPr>
        </p:nvSpPr>
        <p:spPr>
          <a:xfrm>
            <a:off x="4340478" y="3768357"/>
            <a:ext cx="1291167" cy="309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IE" sz="12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IE"/>
              <a:t>MONTH/YEAR</a:t>
            </a:r>
          </a:p>
        </p:txBody>
      </p:sp>
      <p:sp>
        <p:nvSpPr>
          <p:cNvPr id="61" name="Text Placeholder 57"/>
          <p:cNvSpPr>
            <a:spLocks noGrp="1"/>
          </p:cNvSpPr>
          <p:nvPr>
            <p:ph type="body" sz="quarter" idx="35" hasCustomPrompt="1"/>
          </p:nvPr>
        </p:nvSpPr>
        <p:spPr>
          <a:xfrm>
            <a:off x="6302923" y="3744304"/>
            <a:ext cx="1291167" cy="309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IE" sz="12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IE"/>
              <a:t>MONTH/YEAR</a:t>
            </a:r>
          </a:p>
        </p:txBody>
      </p:sp>
      <p:sp>
        <p:nvSpPr>
          <p:cNvPr id="62" name="Text Placeholder 57"/>
          <p:cNvSpPr>
            <a:spLocks noGrp="1"/>
          </p:cNvSpPr>
          <p:nvPr>
            <p:ph type="body" sz="quarter" idx="36" hasCustomPrompt="1"/>
          </p:nvPr>
        </p:nvSpPr>
        <p:spPr>
          <a:xfrm>
            <a:off x="8130269" y="3743656"/>
            <a:ext cx="1291167" cy="309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IE" sz="12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IE"/>
              <a:t>MONTH/YEAR</a:t>
            </a:r>
          </a:p>
        </p:txBody>
      </p:sp>
      <p:sp>
        <p:nvSpPr>
          <p:cNvPr id="63" name="Text Placeholder 57"/>
          <p:cNvSpPr>
            <a:spLocks noGrp="1"/>
          </p:cNvSpPr>
          <p:nvPr>
            <p:ph type="body" sz="quarter" idx="37" hasCustomPrompt="1"/>
          </p:nvPr>
        </p:nvSpPr>
        <p:spPr>
          <a:xfrm>
            <a:off x="10018666" y="3748184"/>
            <a:ext cx="1291167" cy="309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IE" sz="12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IE"/>
              <a:t>MONTH/YEAR</a:t>
            </a:r>
          </a:p>
        </p:txBody>
      </p:sp>
      <p:sp>
        <p:nvSpPr>
          <p:cNvPr id="64" name="Text Placeholder 50"/>
          <p:cNvSpPr>
            <a:spLocks noGrp="1"/>
          </p:cNvSpPr>
          <p:nvPr>
            <p:ph type="body" sz="quarter" idx="38" hasCustomPrompt="1"/>
          </p:nvPr>
        </p:nvSpPr>
        <p:spPr>
          <a:xfrm>
            <a:off x="323965" y="2051077"/>
            <a:ext cx="2298700" cy="9440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>
                <a:latin typeface="Arial" panose="020B0604020202020204" pitchFamily="34" charset="0"/>
              </a:defRPr>
            </a:lvl1pPr>
          </a:lstStyle>
          <a:p>
            <a:r>
              <a:rPr lang="en-US" sz="1333">
                <a:solidFill>
                  <a:srgbClr val="414141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8628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pos="557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856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ctr" defTabSz="609453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90" indent="-457090" algn="l" defTabSz="609453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361" indent="-380908" algn="l" defTabSz="609453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631" indent="-304726" algn="l" defTabSz="609453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084" indent="-304726" algn="l" defTabSz="609453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2537" indent="-304726" algn="l" defTabSz="609453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1990" indent="-304726" algn="l" defTabSz="60945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442" indent="-304726" algn="l" defTabSz="60945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0895" indent="-304726" algn="l" defTabSz="60945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348" indent="-304726" algn="l" defTabSz="60945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3" algn="l" defTabSz="6094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06" algn="l" defTabSz="6094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58" algn="l" defTabSz="6094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11" algn="l" defTabSz="6094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264" algn="l" defTabSz="6094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17" algn="l" defTabSz="6094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169" algn="l" defTabSz="6094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622" algn="l" defTabSz="60945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image" Target="../media/image26.png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9.png"/><Relationship Id="rId1" Type="http://schemas.openxmlformats.org/officeDocument/2006/relationships/tags" Target="../tags/tag1.xml"/><Relationship Id="rId6" Type="http://schemas.openxmlformats.org/officeDocument/2006/relationships/image" Target="../media/image20.png"/><Relationship Id="rId11" Type="http://schemas.openxmlformats.org/officeDocument/2006/relationships/image" Target="../media/image24.png"/><Relationship Id="rId5" Type="http://schemas.openxmlformats.org/officeDocument/2006/relationships/image" Target="../media/image19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8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AD2385-5CA7-47EF-8DAE-EE9D3943CC36}"/>
              </a:ext>
            </a:extLst>
          </p:cNvPr>
          <p:cNvSpPr txBox="1"/>
          <p:nvPr/>
        </p:nvSpPr>
        <p:spPr>
          <a:xfrm>
            <a:off x="190767" y="565819"/>
            <a:ext cx="6893524" cy="43396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endParaRPr lang="en-IE" dirty="0"/>
          </a:p>
          <a:p>
            <a:r>
              <a:rPr lang="en-IE" dirty="0"/>
              <a:t>	</a:t>
            </a:r>
          </a:p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esting &amp; Contact Tracing</a:t>
            </a:r>
            <a:r>
              <a:rPr kumimoji="0" lang="en-US" sz="40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versight and insights for regulatory</a:t>
            </a:r>
            <a:r>
              <a:rPr kumimoji="0" lang="en-US" sz="40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&amp; supervisory </a:t>
            </a:r>
            <a:r>
              <a:rPr kumimoji="0" lang="en-US" sz="4000" b="1" i="0" u="none" strike="noStrike" kern="1200" cap="none" spc="0" normalizeH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rganisations</a:t>
            </a:r>
            <a:r>
              <a:rPr kumimoji="0" lang="en-US" sz="40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6260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AD2385-5CA7-47EF-8DAE-EE9D3943CC36}"/>
              </a:ext>
            </a:extLst>
          </p:cNvPr>
          <p:cNvSpPr txBox="1"/>
          <p:nvPr/>
        </p:nvSpPr>
        <p:spPr>
          <a:xfrm>
            <a:off x="70694" y="1683419"/>
            <a:ext cx="8685378" cy="20928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endParaRPr lang="en-IE" dirty="0"/>
          </a:p>
          <a:p>
            <a:r>
              <a:rPr lang="en-IE" sz="3200" b="1" dirty="0">
                <a:solidFill>
                  <a:srgbClr val="FFFFFF"/>
                </a:solidFill>
                <a:latin typeface="Arial" panose="020B0604020202020204" pitchFamily="34" charset="0"/>
              </a:rPr>
              <a:t>Overview of Test and Trace in Ireland </a:t>
            </a:r>
            <a:r>
              <a:rPr lang="en-IE" dirty="0"/>
              <a:t>	</a:t>
            </a:r>
          </a:p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435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/>
          <p:cNvPicPr>
            <a:picLocks noGrp="1" noChangeAspect="1"/>
          </p:cNvPicPr>
          <p:nvPr>
            <p:ph type="pic" sz="quarter" idx="23"/>
          </p:nvPr>
        </p:nvPicPr>
        <p:blipFill>
          <a:blip r:embed="rId2"/>
          <a:srcRect t="6723" b="672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type="body" idx="19"/>
          </p:nvPr>
        </p:nvSpPr>
        <p:spPr>
          <a:xfrm>
            <a:off x="347133" y="1847273"/>
            <a:ext cx="5935133" cy="422290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IE" dirty="0"/>
              <a:t>National service – population of c. 5 million  </a:t>
            </a:r>
          </a:p>
          <a:p>
            <a:r>
              <a:rPr lang="en-IE" dirty="0"/>
              <a:t>End to end – referral to result </a:t>
            </a:r>
          </a:p>
          <a:p>
            <a:r>
              <a:rPr lang="en-IE" dirty="0"/>
              <a:t>Approx. 4,000 staff (Swabbing, labs and contact tracing) </a:t>
            </a:r>
          </a:p>
          <a:p>
            <a:r>
              <a:rPr lang="en-IE" dirty="0"/>
              <a:t>Serial and mass testing – long term care, food production, education </a:t>
            </a:r>
          </a:p>
          <a:p>
            <a:r>
              <a:rPr lang="en-IE" dirty="0"/>
              <a:t>37 swabbing sites and 6-12 mobile pop-ups </a:t>
            </a:r>
          </a:p>
          <a:p>
            <a:r>
              <a:rPr lang="en-IE" dirty="0"/>
              <a:t>Standing capacity for 25,000 tests per day with surge capacity up to 35,000 </a:t>
            </a:r>
          </a:p>
          <a:p>
            <a:r>
              <a:rPr lang="en-IE" dirty="0"/>
              <a:t>National integrated system – </a:t>
            </a:r>
            <a:r>
              <a:rPr lang="en-IE" dirty="0" err="1"/>
              <a:t>Covidcare</a:t>
            </a:r>
            <a:r>
              <a:rPr lang="en-IE" dirty="0"/>
              <a:t> </a:t>
            </a:r>
          </a:p>
          <a:p>
            <a:r>
              <a:rPr lang="en-IE" dirty="0"/>
              <a:t>PCR testing with antigen for acute hospitals </a:t>
            </a:r>
          </a:p>
          <a:p>
            <a:r>
              <a:rPr lang="en-IE" dirty="0"/>
              <a:t>Private testing services available 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347132" y="856755"/>
            <a:ext cx="5935133" cy="666924"/>
          </a:xfrm>
        </p:spPr>
        <p:txBody>
          <a:bodyPr/>
          <a:lstStyle/>
          <a:p>
            <a:r>
              <a:rPr lang="en-IE" dirty="0"/>
              <a:t>Key features of T&amp;T service</a:t>
            </a:r>
          </a:p>
        </p:txBody>
      </p:sp>
    </p:spTree>
    <p:extLst>
      <p:ext uri="{BB962C8B-B14F-4D97-AF65-F5344CB8AC3E}">
        <p14:creationId xmlns:p14="http://schemas.microsoft.com/office/powerpoint/2010/main" val="3434385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3F695FE1-B5F7-4796-8174-7F5B9C3B2DCC}"/>
              </a:ext>
            </a:extLst>
          </p:cNvPr>
          <p:cNvSpPr txBox="1">
            <a:spLocks/>
          </p:cNvSpPr>
          <p:nvPr/>
        </p:nvSpPr>
        <p:spPr>
          <a:xfrm>
            <a:off x="132444" y="381129"/>
            <a:ext cx="12059556" cy="588047"/>
          </a:xfrm>
          <a:prstGeom prst="rect">
            <a:avLst/>
          </a:prstGeom>
          <a:solidFill>
            <a:schemeClr val="bg1"/>
          </a:solidFill>
        </p:spPr>
        <p:txBody>
          <a:bodyPr lIns="91440" tIns="45720" rIns="91440" bIns="45720" anchor="t"/>
          <a:lstStyle>
            <a:lvl1pPr algn="ctr" defTabSz="609453" rtl="0" eaLnBrk="1" latinLnBrk="0" hangingPunct="1"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srgbClr val="006858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esting and Contact Tracing Headlines –</a:t>
            </a:r>
            <a:r>
              <a:rPr kumimoji="0" lang="en-IE" sz="2400" b="1" i="0" u="none" strike="noStrike" kern="1200" cap="none" spc="0" normalizeH="0" noProof="0" dirty="0">
                <a:ln>
                  <a:noFill/>
                </a:ln>
                <a:solidFill>
                  <a:srgbClr val="006858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over 3 Million </a:t>
            </a: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srgbClr val="006858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ests completed to date</a:t>
            </a:r>
            <a:endParaRPr kumimoji="0" lang="en-US" sz="5867" b="0" i="0" u="none" strike="noStrike" kern="1200" cap="none" spc="0" normalizeH="0" baseline="0" noProof="0" dirty="0">
              <a:ln>
                <a:noFill/>
              </a:ln>
              <a:solidFill>
                <a:srgbClr val="273339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7DD218B-62F1-408F-AC62-07648995B2DA}"/>
              </a:ext>
            </a:extLst>
          </p:cNvPr>
          <p:cNvSpPr/>
          <p:nvPr/>
        </p:nvSpPr>
        <p:spPr>
          <a:xfrm>
            <a:off x="2605663" y="3498376"/>
            <a:ext cx="2203200" cy="172821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F46D42AE-DD99-4314-9E63-1756ED3685D9}"/>
              </a:ext>
            </a:extLst>
          </p:cNvPr>
          <p:cNvGrpSpPr/>
          <p:nvPr/>
        </p:nvGrpSpPr>
        <p:grpSpPr>
          <a:xfrm>
            <a:off x="238175" y="1809278"/>
            <a:ext cx="11759061" cy="3417314"/>
            <a:chOff x="238175" y="1749903"/>
            <a:chExt cx="11759061" cy="341731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D4130E2-AD13-4263-9E36-DFAD7CAD71A4}"/>
                </a:ext>
              </a:extLst>
            </p:cNvPr>
            <p:cNvSpPr/>
            <p:nvPr/>
          </p:nvSpPr>
          <p:spPr>
            <a:xfrm>
              <a:off x="9742383" y="3428841"/>
              <a:ext cx="2203200" cy="172821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EADE4D3-D155-4697-B7E2-B5786FDB01CC}"/>
                </a:ext>
              </a:extLst>
            </p:cNvPr>
            <p:cNvSpPr/>
            <p:nvPr/>
          </p:nvSpPr>
          <p:spPr>
            <a:xfrm>
              <a:off x="9742402" y="4419746"/>
              <a:ext cx="2203163" cy="65585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33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tal number of Contact Tracing calls made last week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5E4E68B-5F99-448E-96F8-3B735E8A1031}"/>
                </a:ext>
              </a:extLst>
            </p:cNvPr>
            <p:cNvSpPr/>
            <p:nvPr/>
          </p:nvSpPr>
          <p:spPr>
            <a:xfrm>
              <a:off x="9794073" y="3536120"/>
              <a:ext cx="2203163" cy="720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3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4,335+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BB137CFE-CB9C-4775-BDF5-185938ACA3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42383" y="1749903"/>
              <a:ext cx="2203200" cy="1680938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0E761CE-F927-4D72-90CE-5D57E7BB653D}"/>
                </a:ext>
              </a:extLst>
            </p:cNvPr>
            <p:cNvSpPr/>
            <p:nvPr/>
          </p:nvSpPr>
          <p:spPr>
            <a:xfrm>
              <a:off x="7369113" y="3428841"/>
              <a:ext cx="2203200" cy="172821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E52277D-DE79-4084-8AE8-67AACD8277FB}"/>
                </a:ext>
              </a:extLst>
            </p:cNvPr>
            <p:cNvSpPr/>
            <p:nvPr/>
          </p:nvSpPr>
          <p:spPr>
            <a:xfrm>
              <a:off x="7356202" y="3564824"/>
              <a:ext cx="2203163" cy="720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3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41,690+</a:t>
              </a:r>
              <a:endParaRPr kumimoji="0" lang="en-US" sz="3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59C41BF-4E78-4A3C-A6C1-38ECD4A5F8CF}"/>
                </a:ext>
              </a:extLst>
            </p:cNvPr>
            <p:cNvSpPr/>
            <p:nvPr/>
          </p:nvSpPr>
          <p:spPr>
            <a:xfrm>
              <a:off x="7369132" y="4419746"/>
              <a:ext cx="2203163" cy="53862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33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tal number of laboratory tests last week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0E750FA-592E-4EAC-9866-FC449657AF9B}"/>
                </a:ext>
              </a:extLst>
            </p:cNvPr>
            <p:cNvPicPr>
              <a:picLocks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7" t="5081" r="-187" b="28936"/>
            <a:stretch/>
          </p:blipFill>
          <p:spPr>
            <a:xfrm>
              <a:off x="7369113" y="1749903"/>
              <a:ext cx="2203200" cy="1680000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D5DA20-D200-484A-BBD6-8F6DAD29AC59}"/>
                </a:ext>
              </a:extLst>
            </p:cNvPr>
            <p:cNvSpPr/>
            <p:nvPr/>
          </p:nvSpPr>
          <p:spPr>
            <a:xfrm>
              <a:off x="4989388" y="3428841"/>
              <a:ext cx="2203200" cy="172821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6C2D075-0D0B-49FB-BAF3-66B8EB340C66}"/>
                </a:ext>
              </a:extLst>
            </p:cNvPr>
            <p:cNvSpPr/>
            <p:nvPr/>
          </p:nvSpPr>
          <p:spPr>
            <a:xfrm>
              <a:off x="4995122" y="4429795"/>
              <a:ext cx="2203200" cy="53862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33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tal Swabs last week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6381863-298D-4584-B06F-DDCB09B1AAC1}"/>
                </a:ext>
              </a:extLst>
            </p:cNvPr>
            <p:cNvSpPr/>
            <p:nvPr/>
          </p:nvSpPr>
          <p:spPr>
            <a:xfrm>
              <a:off x="4989388" y="3553735"/>
              <a:ext cx="2203201" cy="7200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3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38,770+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2B713A8-B9CB-492E-81F1-40BEEDF3B6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94400" y="1749903"/>
              <a:ext cx="2204644" cy="1680000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F8243BC-2E0F-4F69-B9E3-1DFAC56D0293}"/>
                </a:ext>
              </a:extLst>
            </p:cNvPr>
            <p:cNvSpPr/>
            <p:nvPr/>
          </p:nvSpPr>
          <p:spPr>
            <a:xfrm>
              <a:off x="247140" y="3439001"/>
              <a:ext cx="2203200" cy="172821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F897A77-DF40-4120-A703-3D59FAC77020}"/>
                </a:ext>
              </a:extLst>
            </p:cNvPr>
            <p:cNvSpPr/>
            <p:nvPr/>
          </p:nvSpPr>
          <p:spPr>
            <a:xfrm>
              <a:off x="238175" y="4428710"/>
              <a:ext cx="2230094" cy="52965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ctr" defTabSz="6094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76ED4BC-5AC5-4719-A3A2-F8D47BE6C600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399"/>
            <a:stretch/>
          </p:blipFill>
          <p:spPr>
            <a:xfrm>
              <a:off x="246418" y="1749903"/>
              <a:ext cx="2204644" cy="16812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14D8C4F-B928-4EEE-A329-9020BEF30389}"/>
              </a:ext>
            </a:extLst>
          </p:cNvPr>
          <p:cNvSpPr txBox="1"/>
          <p:nvPr/>
        </p:nvSpPr>
        <p:spPr>
          <a:xfrm>
            <a:off x="372863" y="6035394"/>
            <a:ext cx="7460811" cy="253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srgbClr val="8081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The above </a:t>
            </a:r>
            <a:r>
              <a:rPr kumimoji="0" lang="en-IE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8081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</a:t>
            </a: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srgbClr val="8081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volume metrics refer to the seven day date range </a:t>
            </a: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20</a:t>
            </a:r>
            <a:r>
              <a:rPr kumimoji="0" lang="en-IE" sz="900" b="0" i="0" u="none" strike="noStrike" kern="1200" cap="none" spc="0" normalizeH="0" baseline="3000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</a:t>
            </a: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26</a:t>
            </a:r>
            <a:r>
              <a:rPr kumimoji="0" lang="en-IE" sz="900" b="0" i="0" u="none" strike="noStrike" kern="1200" cap="none" spc="0" normalizeH="0" baseline="3000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</a:t>
            </a: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January</a:t>
            </a: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srgbClr val="27333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EFEC8BB-38F9-420C-A70C-B61066D0DD9E}"/>
              </a:ext>
            </a:extLst>
          </p:cNvPr>
          <p:cNvSpPr/>
          <p:nvPr/>
        </p:nvSpPr>
        <p:spPr>
          <a:xfrm>
            <a:off x="2451061" y="3536830"/>
            <a:ext cx="2374713" cy="8373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9 days</a:t>
            </a:r>
            <a:endParaRPr kumimoji="0" lang="en-IE" sz="3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56CE932E-C16F-4B76-8DDE-BD06DDABA0BE}"/>
              </a:ext>
            </a:extLst>
          </p:cNvPr>
          <p:cNvPicPr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0811" y="1809278"/>
            <a:ext cx="2203200" cy="16812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F6833599-08E5-497F-8FB6-90984013B6E8}"/>
              </a:ext>
            </a:extLst>
          </p:cNvPr>
          <p:cNvSpPr/>
          <p:nvPr/>
        </p:nvSpPr>
        <p:spPr>
          <a:xfrm>
            <a:off x="220967" y="3500866"/>
            <a:ext cx="2230093" cy="8373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4 days</a:t>
            </a:r>
            <a:endParaRPr kumimoji="0" lang="en-IE" sz="3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1D002FB-FD3F-488E-AC08-A17D926C250B}"/>
              </a:ext>
            </a:extLst>
          </p:cNvPr>
          <p:cNvSpPr/>
          <p:nvPr/>
        </p:nvSpPr>
        <p:spPr>
          <a:xfrm>
            <a:off x="158155" y="4461981"/>
            <a:ext cx="2374713" cy="5296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ty - median end to end for a not detected result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A271C3D-DF20-4937-862A-2EB26ECEDF7A}"/>
              </a:ext>
            </a:extLst>
          </p:cNvPr>
          <p:cNvSpPr/>
          <p:nvPr/>
        </p:nvSpPr>
        <p:spPr>
          <a:xfrm>
            <a:off x="2521986" y="4483602"/>
            <a:ext cx="2374713" cy="5296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ty - median end to end for a detected result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2066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AD2385-5CA7-47EF-8DAE-EE9D3943CC36}"/>
              </a:ext>
            </a:extLst>
          </p:cNvPr>
          <p:cNvSpPr txBox="1"/>
          <p:nvPr/>
        </p:nvSpPr>
        <p:spPr>
          <a:xfrm>
            <a:off x="70694" y="1683419"/>
            <a:ext cx="8685378" cy="20928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endParaRPr lang="en-IE" dirty="0"/>
          </a:p>
          <a:p>
            <a:r>
              <a:rPr lang="en-IE" sz="3200" b="1" dirty="0">
                <a:solidFill>
                  <a:srgbClr val="FFFFFF"/>
                </a:solidFill>
                <a:latin typeface="Arial" panose="020B0604020202020204" pitchFamily="34" charset="0"/>
              </a:rPr>
              <a:t>Oversight of Monitoring and Oversight </a:t>
            </a:r>
            <a:r>
              <a:rPr lang="en-IE" dirty="0"/>
              <a:t>	</a:t>
            </a:r>
          </a:p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73828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E" dirty="0"/>
              <a:t> 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633929223"/>
              </p:ext>
            </p:extLst>
          </p:nvPr>
        </p:nvGraphicFramePr>
        <p:xfrm>
          <a:off x="2032000" y="535710"/>
          <a:ext cx="8423564" cy="5602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lowchart: Delay 3"/>
          <p:cNvSpPr/>
          <p:nvPr/>
        </p:nvSpPr>
        <p:spPr>
          <a:xfrm>
            <a:off x="554183" y="1939637"/>
            <a:ext cx="1976582" cy="2844800"/>
          </a:xfrm>
          <a:prstGeom prst="flowChartDelay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E" dirty="0"/>
              <a:t>Oversight and monitoring systems </a:t>
            </a:r>
          </a:p>
        </p:txBody>
      </p:sp>
    </p:spTree>
    <p:extLst>
      <p:ext uri="{BB962C8B-B14F-4D97-AF65-F5344CB8AC3E}">
        <p14:creationId xmlns:p14="http://schemas.microsoft.com/office/powerpoint/2010/main" val="11626019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464E2960-BB93-4D6E-A04A-C9472CD5DD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918" y="3811687"/>
            <a:ext cx="1484285" cy="220925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BA2E1C1-3933-4466-857D-DB97316255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85027" y="3800364"/>
            <a:ext cx="3043014" cy="239301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811071B-608E-4568-9A94-8A6706FC3C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61" y="1437798"/>
            <a:ext cx="3216685" cy="1532833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C84D94-1904-4841-A1D8-26F7E6F98A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C84D94-1904-4841-A1D8-26F7E6F98A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3" name="TextBox 262">
            <a:extLst>
              <a:ext uri="{FF2B5EF4-FFF2-40B4-BE49-F238E27FC236}">
                <a16:creationId xmlns:a16="http://schemas.microsoft.com/office/drawing/2014/main" id="{E19DF6B8-9C4C-4319-91E2-A885D7FF3866}"/>
              </a:ext>
            </a:extLst>
          </p:cNvPr>
          <p:cNvSpPr txBox="1"/>
          <p:nvPr/>
        </p:nvSpPr>
        <p:spPr>
          <a:xfrm>
            <a:off x="14515" y="64447"/>
            <a:ext cx="43966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53"/>
            <a:r>
              <a:rPr lang="en-US" sz="1067" dirty="0">
                <a:solidFill>
                  <a:srgbClr val="414141"/>
                </a:solidFill>
                <a:latin typeface="Arial" panose="020B0604020202020204" pitchFamily="34" charset="0"/>
              </a:rPr>
              <a:t>HSE | </a:t>
            </a:r>
            <a:r>
              <a:rPr lang="en-US" sz="1067" b="1" dirty="0">
                <a:solidFill>
                  <a:srgbClr val="414141"/>
                </a:solidFill>
                <a:latin typeface="Arial" panose="020B0604020202020204" pitchFamily="34" charset="0"/>
              </a:rPr>
              <a:t>Daily KPI updates (ISS COVID-19 Dashboard) – </a:t>
            </a:r>
            <a:r>
              <a:rPr lang="en-US" sz="1200" b="1" dirty="0">
                <a:solidFill>
                  <a:srgbClr val="414141"/>
                </a:solidFill>
                <a:latin typeface="Arial" panose="020B0604020202020204" pitchFamily="34" charset="0"/>
              </a:rPr>
              <a:t>Feb 1st</a:t>
            </a:r>
            <a:endParaRPr lang="en-IE" sz="1067" b="1" dirty="0">
              <a:solidFill>
                <a:srgbClr val="414141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4B9D3B-5914-4D35-AA99-94D4C54DEA80}"/>
              </a:ext>
            </a:extLst>
          </p:cNvPr>
          <p:cNvSpPr txBox="1"/>
          <p:nvPr/>
        </p:nvSpPr>
        <p:spPr>
          <a:xfrm>
            <a:off x="11334808" y="6440798"/>
            <a:ext cx="723353" cy="283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453">
              <a:lnSpc>
                <a:spcPct val="130000"/>
              </a:lnSpc>
            </a:pPr>
            <a:r>
              <a:rPr lang="en-IE" sz="1067" dirty="0">
                <a:solidFill>
                  <a:prstClr val="white"/>
                </a:solidFill>
                <a:latin typeface="Arial"/>
              </a:rPr>
              <a:t>Page 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9E3E66-96E2-41E0-9CDB-8835081F09EB}"/>
              </a:ext>
            </a:extLst>
          </p:cNvPr>
          <p:cNvSpPr/>
          <p:nvPr/>
        </p:nvSpPr>
        <p:spPr>
          <a:xfrm>
            <a:off x="14515" y="528542"/>
            <a:ext cx="12232740" cy="276999"/>
          </a:xfrm>
          <a:prstGeom prst="rect">
            <a:avLst/>
          </a:prstGeom>
          <a:solidFill>
            <a:srgbClr val="D0E8D5"/>
          </a:solidFill>
        </p:spPr>
        <p:txBody>
          <a:bodyPr wrap="square">
            <a:spAutoFit/>
          </a:bodyPr>
          <a:lstStyle/>
          <a:p>
            <a:pPr algn="ctr"/>
            <a:r>
              <a:rPr lang="en-IE" sz="1200" b="1" u="sng" dirty="0"/>
              <a:t>Overall Status:</a:t>
            </a:r>
            <a:r>
              <a:rPr lang="en-IE" sz="1200" b="1" dirty="0"/>
              <a:t> </a:t>
            </a:r>
            <a:endParaRPr lang="en-IE" sz="1200" dirty="0">
              <a:solidFill>
                <a:srgbClr val="00B05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5ECF10-AA70-4BBB-8041-97EFDE873B27}"/>
              </a:ext>
            </a:extLst>
          </p:cNvPr>
          <p:cNvSpPr txBox="1"/>
          <p:nvPr/>
        </p:nvSpPr>
        <p:spPr>
          <a:xfrm>
            <a:off x="612164" y="-61152"/>
            <a:ext cx="12209484" cy="426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453">
              <a:lnSpc>
                <a:spcPct val="130000"/>
              </a:lnSpc>
            </a:pPr>
            <a:r>
              <a:rPr lang="en-IE" sz="1867" b="1" dirty="0">
                <a:solidFill>
                  <a:srgbClr val="808180"/>
                </a:solidFill>
                <a:latin typeface="Arial"/>
              </a:rPr>
              <a:t>Test &amp; Trace Performance Monitoring </a:t>
            </a:r>
            <a:endParaRPr lang="en-IE" sz="1867" dirty="0">
              <a:solidFill>
                <a:srgbClr val="808180"/>
              </a:solidFill>
              <a:latin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216C06-6310-41F6-9835-3A1A3B3B23A0}"/>
              </a:ext>
            </a:extLst>
          </p:cNvPr>
          <p:cNvSpPr txBox="1"/>
          <p:nvPr/>
        </p:nvSpPr>
        <p:spPr>
          <a:xfrm>
            <a:off x="109160" y="889849"/>
            <a:ext cx="2686558" cy="307456"/>
          </a:xfrm>
          <a:prstGeom prst="rect">
            <a:avLst/>
          </a:prstGeom>
          <a:solidFill>
            <a:srgbClr val="D0E8D5"/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 u="sng"/>
            </a:lvl1pPr>
          </a:lstStyle>
          <a:p>
            <a:pPr defTabSz="609453">
              <a:lnSpc>
                <a:spcPct val="130000"/>
              </a:lnSpc>
            </a:pPr>
            <a:r>
              <a:rPr lang="en-IE" dirty="0">
                <a:solidFill>
                  <a:srgbClr val="808180"/>
                </a:solidFill>
                <a:latin typeface="Arial"/>
              </a:rPr>
              <a:t># of Community Referrals</a:t>
            </a:r>
            <a:endParaRPr lang="en-IE" u="none" dirty="0">
              <a:solidFill>
                <a:srgbClr val="808180"/>
              </a:solidFill>
              <a:latin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19622E6-F95F-4E16-90AA-4A0088D6D936}"/>
              </a:ext>
            </a:extLst>
          </p:cNvPr>
          <p:cNvSpPr txBox="1"/>
          <p:nvPr/>
        </p:nvSpPr>
        <p:spPr>
          <a:xfrm>
            <a:off x="7512524" y="889849"/>
            <a:ext cx="3263343" cy="307456"/>
          </a:xfrm>
          <a:prstGeom prst="rect">
            <a:avLst/>
          </a:prstGeom>
          <a:solidFill>
            <a:srgbClr val="D0E8D5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ctr" defTabSz="609453">
              <a:lnSpc>
                <a:spcPct val="130000"/>
              </a:lnSpc>
              <a:defRPr sz="1200" b="1" u="sng">
                <a:solidFill>
                  <a:srgbClr val="808180"/>
                </a:solidFill>
                <a:latin typeface="Arial"/>
              </a:defRPr>
            </a:lvl1pPr>
          </a:lstStyle>
          <a:p>
            <a:r>
              <a:rPr lang="en-IE" dirty="0"/>
              <a:t>Positivity rate (Last 7 days):</a:t>
            </a:r>
            <a:r>
              <a:rPr lang="en-IE" u="none" dirty="0">
                <a:solidFill>
                  <a:schemeClr val="accent3"/>
                </a:solidFill>
              </a:rPr>
              <a:t> 7.6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D74C796-6F69-4C19-9B20-FF1B9375355A}"/>
              </a:ext>
            </a:extLst>
          </p:cNvPr>
          <p:cNvSpPr txBox="1"/>
          <p:nvPr/>
        </p:nvSpPr>
        <p:spPr>
          <a:xfrm>
            <a:off x="5142315" y="3504085"/>
            <a:ext cx="3032242" cy="271549"/>
          </a:xfrm>
          <a:prstGeom prst="rect">
            <a:avLst/>
          </a:prstGeom>
          <a:solidFill>
            <a:srgbClr val="D0E8D5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ctr" defTabSz="609453">
              <a:lnSpc>
                <a:spcPct val="130000"/>
              </a:lnSpc>
              <a:defRPr sz="1200" b="1" u="sng">
                <a:solidFill>
                  <a:srgbClr val="808180"/>
                </a:solidFill>
                <a:latin typeface="Arial"/>
              </a:defRPr>
            </a:lvl1pPr>
          </a:lstStyle>
          <a:p>
            <a:r>
              <a:rPr lang="en-IE" sz="1000" dirty="0"/>
              <a:t>Community Referral to appointment:</a:t>
            </a:r>
            <a:r>
              <a:rPr lang="en-IE" sz="1000" u="none" dirty="0">
                <a:solidFill>
                  <a:schemeClr val="accent4"/>
                </a:solidFill>
              </a:rPr>
              <a:t> </a:t>
            </a:r>
            <a:r>
              <a:rPr lang="en-IE" sz="1000" u="none" dirty="0">
                <a:solidFill>
                  <a:srgbClr val="00B050"/>
                </a:solidFill>
              </a:rPr>
              <a:t>Green</a:t>
            </a:r>
            <a:r>
              <a:rPr lang="en-IE" sz="1000" u="none" dirty="0">
                <a:solidFill>
                  <a:schemeClr val="accent4"/>
                </a:solidFill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809F71-C582-4D8E-96E3-71BF18750005}"/>
              </a:ext>
            </a:extLst>
          </p:cNvPr>
          <p:cNvSpPr/>
          <p:nvPr/>
        </p:nvSpPr>
        <p:spPr>
          <a:xfrm>
            <a:off x="5073376" y="4007138"/>
            <a:ext cx="1671698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0" indent="-177800"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266700" algn="l"/>
              </a:tabLst>
            </a:pPr>
            <a:r>
              <a:rPr lang="en-IE" sz="900" dirty="0">
                <a:solidFill>
                  <a:srgbClr val="000000"/>
                </a:solidFill>
                <a:ea typeface="Times New Roman" panose="02020603050405020304" pitchFamily="18" charset="0"/>
              </a:rPr>
              <a:t>Target:  90% in 24 Hours</a:t>
            </a:r>
            <a:endParaRPr lang="en-IE" sz="900" dirty="0">
              <a:solidFill>
                <a:srgbClr val="000000"/>
              </a:solidFill>
            </a:endParaRPr>
          </a:p>
          <a:p>
            <a:pPr marL="177800" lvl="0" indent="-177800"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IE" sz="900" dirty="0">
                <a:solidFill>
                  <a:srgbClr val="000000"/>
                </a:solidFill>
                <a:ea typeface="Times New Roman" panose="02020603050405020304" pitchFamily="18" charset="0"/>
              </a:rPr>
              <a:t>Actual: </a:t>
            </a:r>
            <a:r>
              <a:rPr lang="en-IE" sz="900" b="1" dirty="0">
                <a:solidFill>
                  <a:srgbClr val="548235"/>
                </a:solidFill>
              </a:rPr>
              <a:t>98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43F5AB7-B8EE-4EEF-A0EF-E369AB73020C}"/>
              </a:ext>
            </a:extLst>
          </p:cNvPr>
          <p:cNvSpPr/>
          <p:nvPr/>
        </p:nvSpPr>
        <p:spPr>
          <a:xfrm>
            <a:off x="6630483" y="4007361"/>
            <a:ext cx="1593137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0" indent="-177800"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266700" algn="l"/>
              </a:tabLst>
            </a:pPr>
            <a:r>
              <a:rPr lang="en-IE" sz="900" dirty="0">
                <a:solidFill>
                  <a:srgbClr val="000000"/>
                </a:solidFill>
                <a:ea typeface="Times New Roman" panose="02020603050405020304" pitchFamily="18" charset="0"/>
              </a:rPr>
              <a:t>Target:  90% last 7 days</a:t>
            </a:r>
            <a:endParaRPr lang="en-IE" sz="900" dirty="0">
              <a:solidFill>
                <a:srgbClr val="000000"/>
              </a:solidFill>
            </a:endParaRPr>
          </a:p>
          <a:p>
            <a:pPr marL="177800" lvl="0" indent="-177800"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IE" sz="900" dirty="0">
                <a:solidFill>
                  <a:srgbClr val="000000"/>
                </a:solidFill>
                <a:ea typeface="Times New Roman" panose="02020603050405020304" pitchFamily="18" charset="0"/>
              </a:rPr>
              <a:t>Actual: </a:t>
            </a:r>
            <a:r>
              <a:rPr lang="en-IE" sz="900" b="1" dirty="0">
                <a:solidFill>
                  <a:srgbClr val="548235"/>
                </a:solidFill>
              </a:rPr>
              <a:t>94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4C367DB-A032-45C1-B7AE-0005D4FC2F18}"/>
              </a:ext>
            </a:extLst>
          </p:cNvPr>
          <p:cNvSpPr txBox="1"/>
          <p:nvPr/>
        </p:nvSpPr>
        <p:spPr>
          <a:xfrm>
            <a:off x="8590328" y="3504085"/>
            <a:ext cx="3575750" cy="271549"/>
          </a:xfrm>
          <a:prstGeom prst="rect">
            <a:avLst/>
          </a:prstGeom>
          <a:solidFill>
            <a:srgbClr val="D0E8D5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ctr" defTabSz="609453">
              <a:lnSpc>
                <a:spcPct val="130000"/>
              </a:lnSpc>
              <a:defRPr sz="1200" b="1" u="sng">
                <a:solidFill>
                  <a:srgbClr val="808180"/>
                </a:solidFill>
                <a:latin typeface="Arial"/>
              </a:defRPr>
            </a:lvl1pPr>
          </a:lstStyle>
          <a:p>
            <a:r>
              <a:rPr lang="en-IE" sz="1000" dirty="0"/>
              <a:t>Swab to Communication of Result (Community):</a:t>
            </a:r>
            <a:r>
              <a:rPr lang="en-IE" sz="1000" u="none" dirty="0">
                <a:solidFill>
                  <a:schemeClr val="accent4"/>
                </a:solidFill>
              </a:rPr>
              <a:t> </a:t>
            </a:r>
            <a:r>
              <a:rPr lang="en-IE" sz="1000" u="none" dirty="0">
                <a:solidFill>
                  <a:srgbClr val="00B050"/>
                </a:solidFill>
              </a:rPr>
              <a:t>Gree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EC94381-9108-4808-B620-BB82D8DD2E70}"/>
              </a:ext>
            </a:extLst>
          </p:cNvPr>
          <p:cNvSpPr/>
          <p:nvPr/>
        </p:nvSpPr>
        <p:spPr>
          <a:xfrm>
            <a:off x="9171373" y="4002331"/>
            <a:ext cx="2403137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0" indent="-177800"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266700" algn="l"/>
              </a:tabLst>
            </a:pPr>
            <a:r>
              <a:rPr lang="en-IE" sz="900" dirty="0">
                <a:solidFill>
                  <a:srgbClr val="000000"/>
                </a:solidFill>
                <a:ea typeface="Times New Roman" panose="02020603050405020304" pitchFamily="18" charset="0"/>
              </a:rPr>
              <a:t>Target:  90% in 48 Hours (Last 7 days)</a:t>
            </a:r>
            <a:endParaRPr lang="en-IE" sz="900" dirty="0">
              <a:solidFill>
                <a:srgbClr val="000000"/>
              </a:solidFill>
            </a:endParaRPr>
          </a:p>
          <a:p>
            <a:pPr marL="177800" lvl="0" indent="-177800"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IE" sz="900" dirty="0">
                <a:solidFill>
                  <a:srgbClr val="000000"/>
                </a:solidFill>
                <a:ea typeface="Times New Roman" panose="02020603050405020304" pitchFamily="18" charset="0"/>
              </a:rPr>
              <a:t>Actual: </a:t>
            </a:r>
            <a:r>
              <a:rPr lang="en-IE" sz="900" b="1" dirty="0">
                <a:solidFill>
                  <a:srgbClr val="548235"/>
                </a:solidFill>
              </a:rPr>
              <a:t>94%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AAC9CC7-3E2D-444D-B85D-1BD17AC9A9A0}"/>
              </a:ext>
            </a:extLst>
          </p:cNvPr>
          <p:cNvCxnSpPr>
            <a:cxnSpLocks/>
          </p:cNvCxnSpPr>
          <p:nvPr/>
        </p:nvCxnSpPr>
        <p:spPr>
          <a:xfrm>
            <a:off x="6116569" y="783065"/>
            <a:ext cx="0" cy="2621544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A0F196C-92C1-4B89-ADA5-40A7FB8CF4FB}"/>
              </a:ext>
            </a:extLst>
          </p:cNvPr>
          <p:cNvCxnSpPr>
            <a:cxnSpLocks/>
          </p:cNvCxnSpPr>
          <p:nvPr/>
        </p:nvCxnSpPr>
        <p:spPr>
          <a:xfrm flipH="1">
            <a:off x="14515" y="3410711"/>
            <a:ext cx="12177485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68A07E3-FE05-410C-8EB2-7A35CBFC27FB}"/>
              </a:ext>
            </a:extLst>
          </p:cNvPr>
          <p:cNvCxnSpPr>
            <a:cxnSpLocks/>
          </p:cNvCxnSpPr>
          <p:nvPr/>
        </p:nvCxnSpPr>
        <p:spPr>
          <a:xfrm>
            <a:off x="8547259" y="3419720"/>
            <a:ext cx="0" cy="2621544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E302DFF-17E9-41D4-96F7-CDAAF473DDF9}"/>
              </a:ext>
            </a:extLst>
          </p:cNvPr>
          <p:cNvCxnSpPr>
            <a:cxnSpLocks/>
          </p:cNvCxnSpPr>
          <p:nvPr/>
        </p:nvCxnSpPr>
        <p:spPr>
          <a:xfrm>
            <a:off x="5032027" y="3436977"/>
            <a:ext cx="0" cy="2621544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78D2373F-7B4C-4A68-BEEA-CF3A12C509F1}"/>
              </a:ext>
            </a:extLst>
          </p:cNvPr>
          <p:cNvSpPr txBox="1"/>
          <p:nvPr/>
        </p:nvSpPr>
        <p:spPr>
          <a:xfrm>
            <a:off x="1013107" y="3487193"/>
            <a:ext cx="3032242" cy="271549"/>
          </a:xfrm>
          <a:prstGeom prst="rect">
            <a:avLst/>
          </a:prstGeom>
          <a:solidFill>
            <a:srgbClr val="D0E8D5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ctr" defTabSz="609453">
              <a:lnSpc>
                <a:spcPct val="130000"/>
              </a:lnSpc>
              <a:defRPr sz="1200" b="1" u="sng">
                <a:solidFill>
                  <a:srgbClr val="808180"/>
                </a:solidFill>
                <a:latin typeface="Arial"/>
              </a:defRPr>
            </a:lvl1pPr>
          </a:lstStyle>
          <a:p>
            <a:r>
              <a:rPr lang="en-IE" sz="1000" dirty="0"/>
              <a:t>End to End Turnaround Time</a:t>
            </a:r>
            <a:endParaRPr lang="en-IE" sz="1000" u="none" dirty="0">
              <a:solidFill>
                <a:schemeClr val="accent4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2720339-1C90-4D5F-898A-88D57E12CFC0}"/>
              </a:ext>
            </a:extLst>
          </p:cNvPr>
          <p:cNvSpPr txBox="1"/>
          <p:nvPr/>
        </p:nvSpPr>
        <p:spPr>
          <a:xfrm>
            <a:off x="1428057" y="3916100"/>
            <a:ext cx="475130" cy="355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 u="sng"/>
            </a:lvl1pPr>
          </a:lstStyle>
          <a:p>
            <a:pPr defTabSz="609453">
              <a:lnSpc>
                <a:spcPct val="130000"/>
              </a:lnSpc>
            </a:pPr>
            <a:endParaRPr lang="en-IE" u="none" dirty="0">
              <a:solidFill>
                <a:srgbClr val="808180"/>
              </a:solidFill>
              <a:latin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76DA2BE-E28A-42A3-9AAF-FFBAAF0BACC5}"/>
              </a:ext>
            </a:extLst>
          </p:cNvPr>
          <p:cNvSpPr txBox="1"/>
          <p:nvPr/>
        </p:nvSpPr>
        <p:spPr>
          <a:xfrm>
            <a:off x="120730" y="2970631"/>
            <a:ext cx="1037471" cy="355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 u="sng"/>
            </a:lvl1pPr>
          </a:lstStyle>
          <a:p>
            <a:pPr defTabSz="609453">
              <a:lnSpc>
                <a:spcPct val="130000"/>
              </a:lnSpc>
            </a:pPr>
            <a:endParaRPr lang="en-IE" u="none" dirty="0">
              <a:solidFill>
                <a:srgbClr val="808180"/>
              </a:solidFill>
              <a:latin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8F480EF-E4DF-4AC7-8CC8-BC1B240E045F}"/>
              </a:ext>
            </a:extLst>
          </p:cNvPr>
          <p:cNvSpPr/>
          <p:nvPr/>
        </p:nvSpPr>
        <p:spPr>
          <a:xfrm>
            <a:off x="2056284" y="1761200"/>
            <a:ext cx="89646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tabLst>
                <a:tab pos="266700" algn="l"/>
              </a:tabLst>
            </a:pPr>
            <a:r>
              <a:rPr lang="en-IE" sz="700" b="1" dirty="0">
                <a:solidFill>
                  <a:srgbClr val="000000"/>
                </a:solidFill>
              </a:rPr>
              <a:t>(Jan 31st</a:t>
            </a:r>
            <a:r>
              <a:rPr lang="en-IE" sz="600" dirty="0">
                <a:solidFill>
                  <a:srgbClr val="000000"/>
                </a:solidFill>
              </a:rPr>
              <a:t>: </a:t>
            </a:r>
            <a:r>
              <a:rPr lang="en-IE" sz="800" b="1" dirty="0">
                <a:solidFill>
                  <a:srgbClr val="000000"/>
                </a:solidFill>
              </a:rPr>
              <a:t>2287</a:t>
            </a:r>
            <a:endParaRPr lang="en-IE" sz="600" b="1" dirty="0">
              <a:solidFill>
                <a:srgbClr val="000000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471F69C-6DC7-44E1-AEC9-A0665E91DF63}"/>
              </a:ext>
            </a:extLst>
          </p:cNvPr>
          <p:cNvSpPr txBox="1"/>
          <p:nvPr/>
        </p:nvSpPr>
        <p:spPr>
          <a:xfrm>
            <a:off x="3233277" y="889849"/>
            <a:ext cx="2686558" cy="307456"/>
          </a:xfrm>
          <a:prstGeom prst="rect">
            <a:avLst/>
          </a:prstGeom>
          <a:solidFill>
            <a:srgbClr val="D0E8D5"/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 u="sng"/>
            </a:lvl1pPr>
          </a:lstStyle>
          <a:p>
            <a:pPr defTabSz="609453">
              <a:lnSpc>
                <a:spcPct val="130000"/>
              </a:lnSpc>
            </a:pPr>
            <a:r>
              <a:rPr lang="en-IE" dirty="0">
                <a:solidFill>
                  <a:srgbClr val="808180"/>
                </a:solidFill>
                <a:latin typeface="Arial"/>
              </a:rPr>
              <a:t>Mean Close Contacts</a:t>
            </a:r>
            <a:endParaRPr lang="en-IE" u="none" dirty="0">
              <a:solidFill>
                <a:srgbClr val="808180"/>
              </a:solidFill>
              <a:latin typeface="Arial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DCC70D-CD2E-4E51-ACAF-C8277EBFA1CD}"/>
              </a:ext>
            </a:extLst>
          </p:cNvPr>
          <p:cNvSpPr/>
          <p:nvPr/>
        </p:nvSpPr>
        <p:spPr bwMode="auto">
          <a:xfrm>
            <a:off x="10387875" y="10894"/>
            <a:ext cx="1804125" cy="523641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14357" rIns="0" bIns="14357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10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1" algn="l" defTabSz="45710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2" algn="l" defTabSz="45710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3" algn="l" defTabSz="45710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04" algn="l" defTabSz="45710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05" algn="l" defTabSz="45710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06" algn="l" defTabSz="45710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07" algn="l" defTabSz="45710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08" algn="l" defTabSz="45710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817" defTabSz="311970" fontAlgn="base">
              <a:spcBef>
                <a:spcPct val="0"/>
              </a:spcBef>
              <a:spcAft>
                <a:spcPts val="102"/>
              </a:spcAft>
            </a:pPr>
            <a:r>
              <a:rPr lang="en-IN" sz="700" b="1" i="1" kern="0" dirty="0">
                <a:solidFill>
                  <a:sysClr val="windowText" lastClr="000000"/>
                </a:solidFill>
              </a:rPr>
              <a:t>RAG Status</a:t>
            </a:r>
            <a:endParaRPr lang="en-IN" sz="500" b="1" i="1" kern="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46" name="Table 7">
            <a:extLst>
              <a:ext uri="{FF2B5EF4-FFF2-40B4-BE49-F238E27FC236}">
                <a16:creationId xmlns:a16="http://schemas.microsoft.com/office/drawing/2014/main" id="{3BA2E30C-AC2F-4350-A895-12FD2ED17C23}"/>
              </a:ext>
            </a:extLst>
          </p:cNvPr>
          <p:cNvGraphicFramePr>
            <a:graphicFrameLocks noGrp="1"/>
          </p:cNvGraphicFramePr>
          <p:nvPr/>
        </p:nvGraphicFramePr>
        <p:xfrm>
          <a:off x="10960573" y="18986"/>
          <a:ext cx="1198540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349">
                  <a:extLst>
                    <a:ext uri="{9D8B030D-6E8A-4147-A177-3AD203B41FA5}">
                      <a16:colId xmlns:a16="http://schemas.microsoft.com/office/drawing/2014/main" val="656275909"/>
                    </a:ext>
                  </a:extLst>
                </a:gridCol>
                <a:gridCol w="857191">
                  <a:extLst>
                    <a:ext uri="{9D8B030D-6E8A-4147-A177-3AD203B41FA5}">
                      <a16:colId xmlns:a16="http://schemas.microsoft.com/office/drawing/2014/main" val="4214193435"/>
                    </a:ext>
                  </a:extLst>
                </a:gridCol>
              </a:tblGrid>
              <a:tr h="139920">
                <a:tc>
                  <a:txBody>
                    <a:bodyPr/>
                    <a:lstStyle/>
                    <a:p>
                      <a:endParaRPr lang="en-IE" sz="500" dirty="0"/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E" sz="5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lt; 75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6537950"/>
                  </a:ext>
                </a:extLst>
              </a:tr>
              <a:tr h="139920">
                <a:tc>
                  <a:txBody>
                    <a:bodyPr/>
                    <a:lstStyle/>
                    <a:p>
                      <a:endParaRPr lang="en-IE" sz="5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E" sz="500" dirty="0"/>
                        <a:t>&gt;=75% &amp; &lt;90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5964342"/>
                  </a:ext>
                </a:extLst>
              </a:tr>
              <a:tr h="139920">
                <a:tc>
                  <a:txBody>
                    <a:bodyPr/>
                    <a:lstStyle/>
                    <a:p>
                      <a:endParaRPr lang="en-IE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E" sz="500" dirty="0"/>
                        <a:t>&gt;=90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4378984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30B0D78-281C-494B-AE09-D629BC8AF7B9}"/>
              </a:ext>
            </a:extLst>
          </p:cNvPr>
          <p:cNvSpPr/>
          <p:nvPr/>
        </p:nvSpPr>
        <p:spPr>
          <a:xfrm>
            <a:off x="6714060" y="568024"/>
            <a:ext cx="474139" cy="17549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E0D4473-E347-4C93-8317-711B1E9041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42671" y="3795442"/>
            <a:ext cx="595864" cy="350508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F8F51662-08AC-40F5-AC27-7A66C8C371C8}"/>
              </a:ext>
            </a:extLst>
          </p:cNvPr>
          <p:cNvSpPr/>
          <p:nvPr/>
        </p:nvSpPr>
        <p:spPr>
          <a:xfrm>
            <a:off x="1470510" y="5968152"/>
            <a:ext cx="585774" cy="32574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EC1F64-5096-41E2-8891-7D8EE2ADAA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6697" y="1308143"/>
            <a:ext cx="1143059" cy="19686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B2BE602-AA6A-4000-B886-334F281FAA4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66430" y="1277433"/>
            <a:ext cx="1206562" cy="19050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4AD5935-BBA6-4356-B1E4-8F064743817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815274" y="1291776"/>
            <a:ext cx="1155759" cy="19114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1C5F5F2-557B-46BE-B59F-B547BB01813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913315" y="1304103"/>
            <a:ext cx="1035103" cy="189239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B827AF2-44A5-4435-B8A4-38005B87CBB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562038" y="1308143"/>
            <a:ext cx="1162110" cy="190509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E9962A5-E5D7-48D1-A351-4C0EAA7FD76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426641" y="1321073"/>
            <a:ext cx="2337248" cy="186666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0901CB8-0CCF-4097-B6A3-296164A4722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453549" y="4546622"/>
            <a:ext cx="2521021" cy="17090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13F90E3-B559-4CC1-BD41-F7ECB3B660E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179079" y="4439465"/>
            <a:ext cx="2387723" cy="1816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8347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AD2385-5CA7-47EF-8DAE-EE9D3943CC36}"/>
              </a:ext>
            </a:extLst>
          </p:cNvPr>
          <p:cNvSpPr txBox="1"/>
          <p:nvPr/>
        </p:nvSpPr>
        <p:spPr>
          <a:xfrm>
            <a:off x="70694" y="1683419"/>
            <a:ext cx="8685378" cy="20928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endParaRPr lang="en-IE" dirty="0"/>
          </a:p>
          <a:p>
            <a:r>
              <a:rPr lang="en-IE" sz="3200" b="1" dirty="0">
                <a:solidFill>
                  <a:srgbClr val="FFFFFF"/>
                </a:solidFill>
                <a:latin typeface="Arial" panose="020B0604020202020204" pitchFamily="34" charset="0"/>
              </a:rPr>
              <a:t>Insights for regulators/inspectorates  </a:t>
            </a:r>
            <a:r>
              <a:rPr lang="en-IE" dirty="0"/>
              <a:t>	</a:t>
            </a:r>
          </a:p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6094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2433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88825901"/>
              </p:ext>
            </p:extLst>
          </p:nvPr>
        </p:nvGraphicFramePr>
        <p:xfrm>
          <a:off x="838200" y="120073"/>
          <a:ext cx="10515600" cy="60124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81748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HSE Branded">
      <a:dk1>
        <a:srgbClr val="273339"/>
      </a:dk1>
      <a:lt1>
        <a:sysClr val="window" lastClr="FFFFFF"/>
      </a:lt1>
      <a:dk2>
        <a:srgbClr val="40515A"/>
      </a:dk2>
      <a:lt2>
        <a:srgbClr val="8C9CA6"/>
      </a:lt2>
      <a:accent1>
        <a:srgbClr val="006858"/>
      </a:accent1>
      <a:accent2>
        <a:srgbClr val="71A59C"/>
      </a:accent2>
      <a:accent3>
        <a:srgbClr val="B30838"/>
      </a:accent3>
      <a:accent4>
        <a:srgbClr val="F7A800"/>
      </a:accent4>
      <a:accent5>
        <a:srgbClr val="6DABE4"/>
      </a:accent5>
      <a:accent6>
        <a:srgbClr val="003CA6"/>
      </a:accent6>
      <a:hlink>
        <a:srgbClr val="0563C1"/>
      </a:hlink>
      <a:folHlink>
        <a:srgbClr val="954F72"/>
      </a:folHlink>
    </a:clrScheme>
    <a:fontScheme name="HSE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lnSpc>
            <a:spcPct val="130000"/>
          </a:lnSpc>
          <a:defRPr sz="800" dirty="0" err="1">
            <a:solidFill>
              <a:srgbClr val="808180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432BA8040B2C48A927DD339127D30B" ma:contentTypeVersion="12" ma:contentTypeDescription="Create a new document." ma:contentTypeScope="" ma:versionID="0ee85921331d7d3ec5294d14ee491a41">
  <xsd:schema xmlns:xsd="http://www.w3.org/2001/XMLSchema" xmlns:xs="http://www.w3.org/2001/XMLSchema" xmlns:p="http://schemas.microsoft.com/office/2006/metadata/properties" xmlns:ns3="6c3bcb7e-b451-4c3a-8e09-2c8fa4780543" xmlns:ns4="d7b67aa7-999f-43e9-98af-4c1786389084" targetNamespace="http://schemas.microsoft.com/office/2006/metadata/properties" ma:root="true" ma:fieldsID="323d167d7b489a4950d098a6502dd45d" ns3:_="" ns4:_="">
    <xsd:import namespace="6c3bcb7e-b451-4c3a-8e09-2c8fa4780543"/>
    <xsd:import namespace="d7b67aa7-999f-43e9-98af-4c178638908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3bcb7e-b451-4c3a-8e09-2c8fa47805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b67aa7-999f-43e9-98af-4c178638908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A3CB5A3-D150-4734-BCF0-C2371AEF72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3bcb7e-b451-4c3a-8e09-2c8fa4780543"/>
    <ds:schemaRef ds:uri="d7b67aa7-999f-43e9-98af-4c17863890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F9F99FC-18B2-44D2-B5F2-60EBC2BEFB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2AE184F-C39B-4AF7-836B-CBEF22C40E80}">
  <ds:schemaRefs>
    <ds:schemaRef ds:uri="d7b67aa7-999f-43e9-98af-4c1786389084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6c3bcb7e-b451-4c3a-8e09-2c8fa478054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27</TotalTime>
  <Words>477</Words>
  <Application>Microsoft Office PowerPoint</Application>
  <PresentationFormat>Widescreen</PresentationFormat>
  <Paragraphs>97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Symbol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eva Carr</dc:creator>
  <cp:lastModifiedBy>jooske vos</cp:lastModifiedBy>
  <cp:revision>27</cp:revision>
  <dcterms:created xsi:type="dcterms:W3CDTF">2021-01-27T18:05:33Z</dcterms:created>
  <dcterms:modified xsi:type="dcterms:W3CDTF">2021-02-03T15:4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432BA8040B2C48A927DD339127D30B</vt:lpwstr>
  </property>
</Properties>
</file>